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345" r:id="rId5"/>
    <p:sldId id="346" r:id="rId6"/>
    <p:sldId id="257" r:id="rId7"/>
    <p:sldId id="341" r:id="rId8"/>
    <p:sldId id="374" r:id="rId9"/>
    <p:sldId id="385" r:id="rId10"/>
    <p:sldId id="386" r:id="rId11"/>
    <p:sldId id="387" r:id="rId12"/>
    <p:sldId id="388" r:id="rId13"/>
    <p:sldId id="389" r:id="rId14"/>
    <p:sldId id="365" r:id="rId15"/>
    <p:sldId id="366" r:id="rId16"/>
    <p:sldId id="367" r:id="rId17"/>
    <p:sldId id="368" r:id="rId18"/>
    <p:sldId id="370" r:id="rId19"/>
    <p:sldId id="371" r:id="rId20"/>
    <p:sldId id="375" r:id="rId21"/>
    <p:sldId id="376" r:id="rId22"/>
    <p:sldId id="383" r:id="rId23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BCB4151-941F-4C96-8093-B081CDA7CA50}">
          <p14:sldIdLst>
            <p14:sldId id="345"/>
            <p14:sldId id="346"/>
            <p14:sldId id="257"/>
            <p14:sldId id="341"/>
            <p14:sldId id="374"/>
          </p14:sldIdLst>
        </p14:section>
        <p14:section name="Vehicle Program" id="{466E5ED8-9ABF-414E-AF53-AE3884B66AB0}">
          <p14:sldIdLst>
            <p14:sldId id="385"/>
            <p14:sldId id="386"/>
            <p14:sldId id="387"/>
            <p14:sldId id="388"/>
            <p14:sldId id="389"/>
          </p14:sldIdLst>
        </p14:section>
        <p14:section name="Infrastructure Program" id="{3375A7B1-5D73-43A0-8932-8A16D12472E5}">
          <p14:sldIdLst>
            <p14:sldId id="365"/>
            <p14:sldId id="366"/>
            <p14:sldId id="367"/>
            <p14:sldId id="368"/>
            <p14:sldId id="370"/>
            <p14:sldId id="371"/>
          </p14:sldIdLst>
        </p14:section>
        <p14:section name="Signals" id="{8F8B7130-37BE-4615-AA16-739F55F4B750}">
          <p14:sldIdLst>
            <p14:sldId id="375"/>
          </p14:sldIdLst>
        </p14:section>
        <p14:section name="SOGR" id="{7A7EB4B3-69FB-4089-9790-A56B2B196B64}">
          <p14:sldIdLst>
            <p14:sldId id="376"/>
          </p14:sldIdLst>
        </p14:section>
        <p14:section name="Collaboration" id="{AE8AF2FE-1BFA-4B6B-B27C-25D61BE86DA9}">
          <p14:sldIdLst>
            <p14:sldId id="383"/>
          </p14:sldIdLst>
        </p14:section>
        <p14:section name="Extra Slides" id="{588C3B91-DF30-44F2-BF2B-EB0AA21F077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cking, Brittany" initials="HB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2523"/>
    <a:srgbClr val="FE7F00"/>
    <a:srgbClr val="F2F2F2"/>
    <a:srgbClr val="DC7307"/>
    <a:srgbClr val="8064A2"/>
    <a:srgbClr val="FFFFFF"/>
    <a:srgbClr val="00269E"/>
    <a:srgbClr val="F154F1"/>
    <a:srgbClr val="0070C0"/>
    <a:srgbClr val="01AE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01" autoAdjust="0"/>
    <p:restoredTop sz="87997" autoAdjust="0"/>
  </p:normalViewPr>
  <p:slideViewPr>
    <p:cSldViewPr snapToGrid="0">
      <p:cViewPr varScale="1">
        <p:scale>
          <a:sx n="103" d="100"/>
          <a:sy n="103" d="100"/>
        </p:scale>
        <p:origin x="1896" y="16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720" y="-106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BDCE78E-D418-4E32-92CB-4A08095096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B30373-86D8-4FB7-8F7E-C21B368951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366" y="0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200"/>
            </a:lvl1pPr>
          </a:lstStyle>
          <a:p>
            <a:fld id="{0BF1F5AE-D873-4B0D-8643-244064CF569C}" type="datetimeFigureOut">
              <a:rPr lang="en-US" smtClean="0"/>
              <a:t>10/1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BDF862-C81A-4918-B980-966A45E719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1885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7D690-8802-49D0-A57B-AC7DA1F489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366" y="8841885"/>
            <a:ext cx="3043130" cy="467215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r">
              <a:defRPr sz="1200"/>
            </a:lvl1pPr>
          </a:lstStyle>
          <a:p>
            <a:fld id="{09128166-7DE5-4336-A198-ED7BEDD7FD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4590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3238" cy="466725"/>
          </a:xfrm>
          <a:prstGeom prst="rect">
            <a:avLst/>
          </a:prstGeom>
        </p:spPr>
        <p:txBody>
          <a:bodyPr vert="horz" lIns="90696" tIns="45350" rIns="90696" bIns="4535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80" y="2"/>
            <a:ext cx="3043238" cy="466725"/>
          </a:xfrm>
          <a:prstGeom prst="rect">
            <a:avLst/>
          </a:prstGeom>
        </p:spPr>
        <p:txBody>
          <a:bodyPr vert="horz" lIns="90696" tIns="45350" rIns="90696" bIns="45350" rtlCol="0"/>
          <a:lstStyle>
            <a:lvl1pPr algn="r">
              <a:defRPr sz="1300"/>
            </a:lvl1pPr>
          </a:lstStyle>
          <a:p>
            <a:fld id="{72A39B4F-D8E7-4701-A6C4-5CF39AE8D229}" type="datetimeFigureOut">
              <a:rPr lang="en-US" smtClean="0"/>
              <a:pPr/>
              <a:t>10/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20813" y="11636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6" tIns="45350" rIns="90696" bIns="4535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9" y="4479927"/>
            <a:ext cx="5619750" cy="3665538"/>
          </a:xfrm>
          <a:prstGeom prst="rect">
            <a:avLst/>
          </a:prstGeom>
        </p:spPr>
        <p:txBody>
          <a:bodyPr vert="horz" lIns="90696" tIns="45350" rIns="90696" bIns="4535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42375"/>
            <a:ext cx="3043238" cy="466725"/>
          </a:xfrm>
          <a:prstGeom prst="rect">
            <a:avLst/>
          </a:prstGeom>
        </p:spPr>
        <p:txBody>
          <a:bodyPr vert="horz" lIns="90696" tIns="45350" rIns="90696" bIns="4535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80" y="8842375"/>
            <a:ext cx="3043238" cy="466725"/>
          </a:xfrm>
          <a:prstGeom prst="rect">
            <a:avLst/>
          </a:prstGeom>
        </p:spPr>
        <p:txBody>
          <a:bodyPr vert="horz" lIns="90696" tIns="45350" rIns="90696" bIns="45350" rtlCol="0" anchor="b"/>
          <a:lstStyle>
            <a:lvl1pPr algn="r">
              <a:defRPr sz="1300"/>
            </a:lvl1pPr>
          </a:lstStyle>
          <a:p>
            <a:fld id="{4AE956D3-FD57-457D-8F40-FAC78B4C2B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93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92263" y="104775"/>
            <a:ext cx="3527425" cy="2644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9442" y="2748890"/>
            <a:ext cx="6720615" cy="645574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647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99690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96889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061135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561711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48704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04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92263" y="104775"/>
            <a:ext cx="3527425" cy="2644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9442" y="2748890"/>
            <a:ext cx="6720615" cy="645574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956D3-FD57-457D-8F40-FAC78B4C2BE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076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308300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74753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8646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7928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2283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323773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endParaRPr lang="en-US" sz="1400" dirty="0"/>
          </a:p>
          <a:p>
            <a:pPr lvl="0">
              <a:defRPr/>
            </a:pPr>
            <a:endParaRPr lang="en-US" sz="1400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283">
              <a:defRPr/>
            </a:pPr>
            <a:fld id="{4AE956D3-FD57-457D-8F40-FAC78B4C2BE7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22283">
                <a:defRPr/>
              </a:pPr>
              <a:t>1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65050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7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68592" tIns="34296" rIns="68592" bIns="34296"/>
          <a:lstStyle/>
          <a:p>
            <a:endParaRPr lang="en-US" sz="1500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2" y="3962400"/>
            <a:ext cx="7751547" cy="466344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2701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1" y="4593771"/>
            <a:ext cx="5867400" cy="300094"/>
          </a:xfrm>
          <a:prstGeom prst="rect">
            <a:avLst/>
          </a:prstGeom>
          <a:noFill/>
        </p:spPr>
        <p:txBody>
          <a:bodyPr wrap="square" lIns="68592" tIns="34296" rIns="68592" bIns="34296" rtlCol="0">
            <a:spAutoFit/>
          </a:bodyPr>
          <a:lstStyle/>
          <a:p>
            <a:pPr marL="291510" indent="-291510"/>
            <a:endParaRPr lang="en-US" sz="1500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026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pic>
        <p:nvPicPr>
          <p:cNvPr id="8" name="Picture 2" descr="C:\Users\dmlee\Downloads\preview-MABayTransAuthority.png">
            <a:extLst>
              <a:ext uri="{FF2B5EF4-FFF2-40B4-BE49-F238E27FC236}">
                <a16:creationId xmlns:a16="http://schemas.microsoft.com/office/drawing/2014/main" id="{1160F7E3-3995-4C76-9963-1A537D05EE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2851609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1761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pc="-5" dirty="0"/>
              <a:t>Draft for </a:t>
            </a:r>
            <a:r>
              <a:rPr dirty="0"/>
              <a:t>Discussion &amp; Policy </a:t>
            </a:r>
            <a:r>
              <a:rPr spc="-5" dirty="0"/>
              <a:t>Purposes</a:t>
            </a:r>
            <a:r>
              <a:rPr spc="-35" dirty="0"/>
              <a:t> </a:t>
            </a:r>
            <a:r>
              <a:rPr dirty="0"/>
              <a:t>Only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/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29879815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7001B58C-59F8-4FB3-8079-AA14751A739E}"/>
              </a:ext>
            </a:extLst>
          </p:cNvPr>
          <p:cNvSpPr txBox="1">
            <a:spLocks/>
          </p:cNvSpPr>
          <p:nvPr userDrawn="1"/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kern="0"/>
              <a:t>Red Line and Orange Line Improvement Program Upda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4" r:id="rId5"/>
    <p:sldLayoutId id="2147483675" r:id="rId6"/>
    <p:sldLayoutId id="2147483676" r:id="rId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emf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930660"/>
            <a:ext cx="7839075" cy="603286"/>
          </a:xfrm>
        </p:spPr>
        <p:txBody>
          <a:bodyPr/>
          <a:lstStyle/>
          <a:p>
            <a:r>
              <a:rPr lang="en-US" sz="2400" dirty="0"/>
              <a:t>Red Line/Orange Line Improvement Program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334000"/>
            <a:ext cx="7010400" cy="762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/>
              <a:t>October 1, 2018</a:t>
            </a:r>
          </a:p>
          <a:p>
            <a:pPr>
              <a:spcBef>
                <a:spcPts val="0"/>
              </a:spcBef>
            </a:pP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38200" y="4610682"/>
            <a:ext cx="6584004" cy="723317"/>
          </a:xfrm>
        </p:spPr>
        <p:txBody>
          <a:bodyPr/>
          <a:lstStyle/>
          <a:p>
            <a:pPr marL="0" indent="0"/>
            <a:r>
              <a:rPr lang="en-US" sz="1800" dirty="0"/>
              <a:t>Vehicle Procurement, Infrastructure Improvements, </a:t>
            </a:r>
          </a:p>
          <a:p>
            <a:pPr marL="0" indent="0"/>
            <a:r>
              <a:rPr lang="en-US" sz="1800" dirty="0"/>
              <a:t>State of Good Repair Improvements and Signal Upgrad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ion Vehicle Final Assembly – Springfield MA</a:t>
            </a:r>
          </a:p>
        </p:txBody>
      </p:sp>
      <p:sp>
        <p:nvSpPr>
          <p:cNvPr id="6" name="Rectangle 5"/>
          <p:cNvSpPr/>
          <p:nvPr/>
        </p:nvSpPr>
        <p:spPr>
          <a:xfrm>
            <a:off x="681135" y="2410897"/>
            <a:ext cx="3872203" cy="247260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just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l assembly on the first four cars is continuing in Springfield with the installation of interior panels and wiring. </a:t>
            </a:r>
          </a:p>
          <a:p>
            <a:pPr algn="just">
              <a:defRPr/>
            </a:pPr>
            <a:endParaRPr lang="en-US" sz="13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se first four (4) Orange Line cars are scheduled for delivery in December 2018.</a:t>
            </a:r>
          </a:p>
          <a:p>
            <a:pPr algn="just">
              <a:defRPr/>
            </a:pPr>
            <a:endParaRPr lang="en-US" sz="13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re are currently 10 carbodies in the plant, with an additional 12 on the sea, having shipped from Changchun, China on September 23, 2018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352" y="3906728"/>
            <a:ext cx="3245618" cy="20800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3352" y="1621347"/>
            <a:ext cx="3245618" cy="211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1222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A67F8C0-0B73-48CF-9B6A-45C3CDF330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684" y="2810147"/>
            <a:ext cx="6100172" cy="40478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2766D5-CCB6-4DF8-B860-51D345CAF53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44" r="19764"/>
          <a:stretch/>
        </p:blipFill>
        <p:spPr>
          <a:xfrm>
            <a:off x="4689668" y="1396854"/>
            <a:ext cx="4454333" cy="373712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nge Line Projects: Wellington Yard Expansion Tracks 33 to 38</a:t>
            </a:r>
          </a:p>
        </p:txBody>
      </p:sp>
      <p:sp>
        <p:nvSpPr>
          <p:cNvPr id="6" name="Rectangle 5"/>
          <p:cNvSpPr/>
          <p:nvPr/>
        </p:nvSpPr>
        <p:spPr>
          <a:xfrm>
            <a:off x="462684" y="1396855"/>
            <a:ext cx="4215848" cy="229949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F White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NTP: 12/05/2016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Substantial Completion: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ractual: 06/23/18	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ed: 01/04/19*</a:t>
            </a:r>
          </a:p>
          <a:p>
            <a:pPr lvl="1">
              <a:defRPr/>
            </a:pPr>
            <a:endParaRPr lang="en-US" sz="5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Budget: $17,977,777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Expenditures to </a:t>
            </a:r>
            <a:r>
              <a:rPr lang="en-US" sz="1300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e: $6,863,589 </a:t>
            </a:r>
            <a:r>
              <a:rPr lang="en-US" sz="13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Percent Complete: 63%</a:t>
            </a:r>
          </a:p>
          <a:p>
            <a:pPr marR="86360">
              <a:spcBef>
                <a:spcPts val="1195"/>
              </a:spcBef>
              <a:defRPr/>
            </a:pPr>
            <a:r>
              <a:rPr lang="en-US" sz="13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Adjusted to account for unforeseen environmental work</a:t>
            </a:r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1A0E34B6-D5CD-4146-AA32-44F705E4BA7D}"/>
              </a:ext>
            </a:extLst>
          </p:cNvPr>
          <p:cNvSpPr/>
          <p:nvPr/>
        </p:nvSpPr>
        <p:spPr>
          <a:xfrm>
            <a:off x="6172200" y="1396854"/>
            <a:ext cx="2971800" cy="229724"/>
          </a:xfrm>
          <a:custGeom>
            <a:avLst/>
            <a:gdLst/>
            <a:ahLst/>
            <a:cxnLst/>
            <a:rect l="l" t="t" r="r" b="b"/>
            <a:pathLst>
              <a:path w="3429000" h="390525">
                <a:moveTo>
                  <a:pt x="0" y="390143"/>
                </a:moveTo>
                <a:lnTo>
                  <a:pt x="3428999" y="390143"/>
                </a:lnTo>
                <a:lnTo>
                  <a:pt x="3428999" y="0"/>
                </a:lnTo>
                <a:lnTo>
                  <a:pt x="0" y="0"/>
                </a:lnTo>
                <a:lnTo>
                  <a:pt x="0" y="39014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r>
              <a:rPr lang="en-US" sz="1200" dirty="0"/>
              <a:t>Installation of Ties, Track, and Ballast</a:t>
            </a:r>
            <a:endParaRPr sz="1200" dirty="0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DBA17BEA-B939-49BB-9ED2-7DAF6CC3600B}"/>
              </a:ext>
            </a:extLst>
          </p:cNvPr>
          <p:cNvSpPr/>
          <p:nvPr/>
        </p:nvSpPr>
        <p:spPr>
          <a:xfrm>
            <a:off x="473821" y="3696347"/>
            <a:ext cx="2937594" cy="216229"/>
          </a:xfrm>
          <a:custGeom>
            <a:avLst/>
            <a:gdLst/>
            <a:ahLst/>
            <a:cxnLst/>
            <a:rect l="l" t="t" r="r" b="b"/>
            <a:pathLst>
              <a:path w="3429000" h="390525">
                <a:moveTo>
                  <a:pt x="0" y="390143"/>
                </a:moveTo>
                <a:lnTo>
                  <a:pt x="3428999" y="390143"/>
                </a:lnTo>
                <a:lnTo>
                  <a:pt x="3428999" y="0"/>
                </a:lnTo>
                <a:lnTo>
                  <a:pt x="0" y="0"/>
                </a:lnTo>
                <a:lnTo>
                  <a:pt x="0" y="39014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0" tIns="0" rIns="0" bIns="0" rtlCol="0"/>
          <a:lstStyle/>
          <a:p>
            <a:pPr algn="r"/>
            <a:r>
              <a:rPr lang="en-US" sz="1200" dirty="0"/>
              <a:t>Installation of Ties, Track, and Ballast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27218577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3">
            <a:extLst>
              <a:ext uri="{FF2B5EF4-FFF2-40B4-BE49-F238E27FC236}">
                <a16:creationId xmlns:a16="http://schemas.microsoft.com/office/drawing/2014/main" id="{F9665CA7-1C05-41F5-8818-EFF8325CA97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462683" y="3224881"/>
            <a:ext cx="5261841" cy="2997577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</p:spPr>
        <p:txBody>
          <a:bodyPr/>
          <a:lstStyle/>
          <a:p>
            <a:r>
              <a:rPr lang="en-US" dirty="0"/>
              <a:t>Orange Line Projects: Orange Line Test Trac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28F52C-0F26-4700-97C9-2785CFDEEE81}"/>
              </a:ext>
            </a:extLst>
          </p:cNvPr>
          <p:cNvSpPr/>
          <p:nvPr/>
        </p:nvSpPr>
        <p:spPr>
          <a:xfrm>
            <a:off x="462683" y="1396855"/>
            <a:ext cx="5261841" cy="175274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LM Heavy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NTP: 06/20/17</a:t>
            </a: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Construction Substantial Completion:8/29/18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Contractual: 09/11/18	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Actual: 08/29/18</a:t>
            </a:r>
          </a:p>
          <a:p>
            <a:pPr lvl="1">
              <a:defRPr/>
            </a:pPr>
            <a:endParaRPr lang="en-US" sz="500" dirty="0">
              <a:solidFill>
                <a:schemeClr val="tx1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Construction Budget: $5,867,000</a:t>
            </a: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Construction Expenditures to Date: $3,939,146</a:t>
            </a: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Construction Percent Complete: 99%</a:t>
            </a:r>
          </a:p>
          <a:p>
            <a:pPr lvl="0">
              <a:defRPr/>
            </a:pPr>
            <a:endParaRPr lang="en-US" sz="500" dirty="0">
              <a:solidFill>
                <a:schemeClr val="tx1"/>
              </a:solidFill>
            </a:endParaRPr>
          </a:p>
          <a:p>
            <a:pPr lvl="0"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A07786-C1BC-419B-9736-63E57A37DE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4398" y="1369238"/>
            <a:ext cx="2731612" cy="48562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EA9B2A1-88B8-4BAB-8423-19B3B69ABCE6}"/>
              </a:ext>
            </a:extLst>
          </p:cNvPr>
          <p:cNvSpPr/>
          <p:nvPr/>
        </p:nvSpPr>
        <p:spPr>
          <a:xfrm>
            <a:off x="6425372" y="1369237"/>
            <a:ext cx="2300638" cy="276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342900" indent="-342900"/>
            <a:r>
              <a:rPr lang="en-US" sz="1200" dirty="0"/>
              <a:t>Surface and Aligning Track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A8229C-8098-4B8D-A194-5878164B66AB}"/>
              </a:ext>
            </a:extLst>
          </p:cNvPr>
          <p:cNvSpPr/>
          <p:nvPr/>
        </p:nvSpPr>
        <p:spPr>
          <a:xfrm>
            <a:off x="462683" y="5952392"/>
            <a:ext cx="1322155" cy="276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342900" indent="-342900"/>
            <a:r>
              <a:rPr lang="en-US" sz="1200" dirty="0"/>
              <a:t>Placing Ballast</a:t>
            </a:r>
          </a:p>
        </p:txBody>
      </p:sp>
    </p:spTree>
    <p:extLst>
      <p:ext uri="{BB962C8B-B14F-4D97-AF65-F5344CB8AC3E}">
        <p14:creationId xmlns:p14="http://schemas.microsoft.com/office/powerpoint/2010/main" val="2401819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539A8EE-3250-4B79-AC48-63A77B1479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484"/>
          <a:stretch/>
        </p:blipFill>
        <p:spPr>
          <a:xfrm>
            <a:off x="4290417" y="1444479"/>
            <a:ext cx="4503994" cy="53141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ED528F-37F9-4483-9300-1B9EB40635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39" y="3477940"/>
            <a:ext cx="4316209" cy="328066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nge Line Projects: Wellington Maintenance Facilit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D275F0-1C14-4F96-99B7-4F07847D7D3C}"/>
              </a:ext>
            </a:extLst>
          </p:cNvPr>
          <p:cNvSpPr/>
          <p:nvPr/>
        </p:nvSpPr>
        <p:spPr>
          <a:xfrm>
            <a:off x="289840" y="1444480"/>
            <a:ext cx="4316209" cy="203346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Barletta Heavy Division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NTP: 06/30/17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Substantial Completion:</a:t>
            </a:r>
          </a:p>
          <a:p>
            <a:pPr lvl="1">
              <a:defRPr/>
            </a:pPr>
            <a:r>
              <a:rPr lang="en-US" sz="1300" dirty="0">
                <a:solidFill>
                  <a:srgbClr val="000000"/>
                </a:solidFill>
              </a:rPr>
              <a:t>Contractual: 08/04/20	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Projected: </a:t>
            </a:r>
            <a:r>
              <a:rPr lang="en-US" sz="1300" dirty="0">
                <a:solidFill>
                  <a:srgbClr val="000000"/>
                </a:solidFill>
              </a:rPr>
              <a:t>08/04/20</a:t>
            </a:r>
          </a:p>
          <a:p>
            <a:pPr lvl="1">
              <a:defRPr/>
            </a:pPr>
            <a:endParaRPr lang="en-US" sz="5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Budget: $72,582,000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Expenditures to Date: $</a:t>
            </a:r>
            <a:r>
              <a:rPr lang="en-US" sz="1300" dirty="0">
                <a:solidFill>
                  <a:schemeClr val="tx1"/>
                </a:solidFill>
              </a:rPr>
              <a:t>17,283,335</a:t>
            </a:r>
            <a:br>
              <a:rPr lang="en-US" sz="1300" dirty="0">
                <a:solidFill>
                  <a:srgbClr val="000000"/>
                </a:solidFill>
              </a:rPr>
            </a:br>
            <a:r>
              <a:rPr lang="en-US" sz="1300" dirty="0">
                <a:solidFill>
                  <a:srgbClr val="000000"/>
                </a:solidFill>
              </a:rPr>
              <a:t>Construction Percent Complete: </a:t>
            </a:r>
            <a:r>
              <a:rPr lang="en-US" sz="1300" dirty="0">
                <a:solidFill>
                  <a:schemeClr val="tx1"/>
                </a:solidFill>
              </a:rPr>
              <a:t>31</a:t>
            </a:r>
            <a:r>
              <a:rPr lang="en-US" sz="1300" dirty="0">
                <a:solidFill>
                  <a:srgbClr val="000000"/>
                </a:solidFill>
              </a:rPr>
              <a:t>%</a:t>
            </a:r>
          </a:p>
          <a:p>
            <a:pPr lvl="0">
              <a:defRPr/>
            </a:pPr>
            <a:endParaRPr lang="en-US" sz="5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* Forecast completing on schedule	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B3E899-A0AA-41D2-8CC6-8DF303B678C5}"/>
              </a:ext>
            </a:extLst>
          </p:cNvPr>
          <p:cNvSpPr/>
          <p:nvPr/>
        </p:nvSpPr>
        <p:spPr>
          <a:xfrm>
            <a:off x="289840" y="6481610"/>
            <a:ext cx="538414" cy="276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342900" indent="-342900"/>
            <a:r>
              <a:rPr lang="en-US" sz="1200" dirty="0"/>
              <a:t>Roo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3FB9C9D-DC3E-4065-9C7D-78041C978874}"/>
              </a:ext>
            </a:extLst>
          </p:cNvPr>
          <p:cNvSpPr/>
          <p:nvPr/>
        </p:nvSpPr>
        <p:spPr>
          <a:xfrm>
            <a:off x="6144596" y="1444478"/>
            <a:ext cx="2649815" cy="276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marL="342900" indent="-342900" algn="r"/>
            <a:r>
              <a:rPr lang="en-US" sz="1200" dirty="0"/>
              <a:t>Facility Expansion Grade Beam </a:t>
            </a:r>
          </a:p>
        </p:txBody>
      </p:sp>
      <p:sp>
        <p:nvSpPr>
          <p:cNvPr id="2" name="AutoShape 2" descr="https://app.e-builder.net/da2/Documents/FileView.aspx?FileID=fa73954d-05fc-4eea-8beb-2b3ef3c7eb7d">
            <a:extLst>
              <a:ext uri="{FF2B5EF4-FFF2-40B4-BE49-F238E27FC236}">
                <a16:creationId xmlns:a16="http://schemas.microsoft.com/office/drawing/2014/main" id="{607E1835-579F-402C-A2D6-E0C857A745D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93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0DE40AE-88C9-4321-81BA-A8BCFBAB51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9551"/>
          <a:stretch/>
        </p:blipFill>
        <p:spPr>
          <a:xfrm>
            <a:off x="0" y="1295400"/>
            <a:ext cx="9144000" cy="500980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2D275F0-1C14-4F96-99B7-4F07847D7D3C}"/>
              </a:ext>
            </a:extLst>
          </p:cNvPr>
          <p:cNvSpPr/>
          <p:nvPr/>
        </p:nvSpPr>
        <p:spPr>
          <a:xfrm>
            <a:off x="154774" y="1380002"/>
            <a:ext cx="4038032" cy="182123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Barletta Heavy Division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NTP: 05/31/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Substantial Completion:</a:t>
            </a:r>
          </a:p>
          <a:p>
            <a:pPr lvl="1">
              <a:defRPr/>
            </a:pPr>
            <a:r>
              <a:rPr lang="en-US" sz="1300" dirty="0">
                <a:solidFill>
                  <a:srgbClr val="000000"/>
                </a:solidFill>
              </a:rPr>
              <a:t>Contractual: 03/07/21	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Projected: 03/07/21</a:t>
            </a:r>
          </a:p>
          <a:p>
            <a:pPr lvl="1">
              <a:defRPr/>
            </a:pPr>
            <a:endParaRPr lang="en-US" sz="5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Budget: $102,663,000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Expenditures to Date: </a:t>
            </a:r>
            <a:r>
              <a:rPr lang="en-US" sz="1300" dirty="0">
                <a:solidFill>
                  <a:schemeClr val="tx1"/>
                </a:solidFill>
              </a:rPr>
              <a:t>$0</a:t>
            </a:r>
            <a:br>
              <a:rPr lang="en-US" sz="1300" dirty="0">
                <a:solidFill>
                  <a:srgbClr val="000000"/>
                </a:solidFill>
              </a:rPr>
            </a:br>
            <a:r>
              <a:rPr lang="en-US" sz="1300" dirty="0">
                <a:solidFill>
                  <a:srgbClr val="000000"/>
                </a:solidFill>
              </a:rPr>
              <a:t>Construction Percent Complete:</a:t>
            </a:r>
            <a:r>
              <a:rPr lang="en-US" sz="1300" dirty="0">
                <a:solidFill>
                  <a:schemeClr val="tx1"/>
                </a:solidFill>
              </a:rPr>
              <a:t> 2%	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nge Line Projects: Wellington Yard Rebuil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ED21A48-233B-4D68-BFE2-513A1D3531C4}"/>
              </a:ext>
            </a:extLst>
          </p:cNvPr>
          <p:cNvSpPr/>
          <p:nvPr/>
        </p:nvSpPr>
        <p:spPr>
          <a:xfrm>
            <a:off x="4019548" y="5838826"/>
            <a:ext cx="4914901" cy="27684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Wellington Yard Rebuild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54F6691-7ECD-4057-8002-B6C0999F9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2806" y="5923428"/>
            <a:ext cx="289293" cy="102897"/>
          </a:xfrm>
          <a:prstGeom prst="rect">
            <a:avLst/>
          </a:prstGeom>
          <a:solidFill>
            <a:srgbClr val="92D050"/>
          </a:solidFill>
          <a:ln w="12700">
            <a:solidFill>
              <a:srgbClr val="02AD04"/>
            </a:solidFill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064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0EF7724-E2F9-48ED-ABDE-2A7C16C7A6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24" r="22595"/>
          <a:stretch/>
        </p:blipFill>
        <p:spPr>
          <a:xfrm rot="5400000">
            <a:off x="5445113" y="3360573"/>
            <a:ext cx="2797740" cy="39382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0EB380F-6CFE-4291-A2EC-D3A9502E6C1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800"/>
          <a:stretch/>
        </p:blipFill>
        <p:spPr>
          <a:xfrm>
            <a:off x="462678" y="3336125"/>
            <a:ext cx="4258607" cy="29372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0B9A062-E13E-4B20-9529-BE754BFCF6E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154"/>
          <a:stretch/>
        </p:blipFill>
        <p:spPr>
          <a:xfrm>
            <a:off x="4874879" y="1302457"/>
            <a:ext cx="3938208" cy="250608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ne Projects: Red Line Test Tra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2C64CE-F623-46D0-ADF5-73E6B5D56A24}"/>
              </a:ext>
            </a:extLst>
          </p:cNvPr>
          <p:cNvSpPr txBox="1"/>
          <p:nvPr/>
        </p:nvSpPr>
        <p:spPr>
          <a:xfrm>
            <a:off x="7473604" y="1308432"/>
            <a:ext cx="1339483" cy="27699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1200" dirty="0">
                <a:solidFill>
                  <a:srgbClr val="000000"/>
                </a:solidFill>
              </a:rPr>
              <a:t>Retaining Wall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2229281-6A4C-4C72-B5D3-10C07E3B6636}"/>
              </a:ext>
            </a:extLst>
          </p:cNvPr>
          <p:cNvSpPr txBox="1"/>
          <p:nvPr/>
        </p:nvSpPr>
        <p:spPr>
          <a:xfrm>
            <a:off x="2673626" y="3336126"/>
            <a:ext cx="2047660" cy="27699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srgbClr val="000000"/>
                </a:solidFill>
              </a:rPr>
              <a:t>VTF Foundation &amp; </a:t>
            </a:r>
            <a:r>
              <a:rPr lang="en-US" sz="1200" dirty="0" err="1">
                <a:solidFill>
                  <a:srgbClr val="000000"/>
                </a:solidFill>
              </a:rPr>
              <a:t>ReBar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9E61E5-5E0C-48A3-8996-7C3AEF2D3281}"/>
              </a:ext>
            </a:extLst>
          </p:cNvPr>
          <p:cNvSpPr/>
          <p:nvPr/>
        </p:nvSpPr>
        <p:spPr>
          <a:xfrm>
            <a:off x="462684" y="1444482"/>
            <a:ext cx="4258606" cy="182943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</a:rPr>
              <a:t>Barletta Heavy Division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NTP: 11/17/17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Substantial Completion: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Contractual: 04/07/19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Projected: 04/07/19</a:t>
            </a:r>
          </a:p>
          <a:p>
            <a:pPr lvl="1">
              <a:defRPr/>
            </a:pPr>
            <a:endParaRPr lang="en-US" sz="5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Budget: $21,269,000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Expenditures to Date: </a:t>
            </a:r>
            <a:r>
              <a:rPr lang="en-US" sz="1300" dirty="0">
                <a:solidFill>
                  <a:schemeClr val="tx1"/>
                </a:solidFill>
              </a:rPr>
              <a:t>$432,705 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Percent </a:t>
            </a:r>
            <a:r>
              <a:rPr lang="en-US" sz="1300" dirty="0">
                <a:solidFill>
                  <a:schemeClr val="tx1"/>
                </a:solidFill>
              </a:rPr>
              <a:t>Complete: 30%</a:t>
            </a:r>
            <a:endParaRPr lang="en-US" sz="1300" b="1" u="sng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8B8992-8A75-445B-9FF1-A5A50A94D598}"/>
              </a:ext>
            </a:extLst>
          </p:cNvPr>
          <p:cNvSpPr txBox="1"/>
          <p:nvPr/>
        </p:nvSpPr>
        <p:spPr>
          <a:xfrm>
            <a:off x="6423101" y="6273350"/>
            <a:ext cx="2389985" cy="4616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dirty="0">
                <a:solidFill>
                  <a:srgbClr val="000000"/>
                </a:solidFill>
              </a:rPr>
              <a:t>New Sub Ballast for new lead Track From Cabot Yard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0729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E0A17DB-42D7-465E-A37F-E11553A9E93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81" y="1295400"/>
            <a:ext cx="9144000" cy="42850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C9E61E5-5E0C-48A3-8996-7C3AEF2D3281}"/>
              </a:ext>
            </a:extLst>
          </p:cNvPr>
          <p:cNvSpPr/>
          <p:nvPr/>
        </p:nvSpPr>
        <p:spPr>
          <a:xfrm>
            <a:off x="164106" y="1416490"/>
            <a:ext cx="3624124" cy="18025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</a:rPr>
              <a:t>LM Heavy/Lane Construction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NTP: </a:t>
            </a:r>
            <a:r>
              <a:rPr lang="en-US" sz="1300" dirty="0">
                <a:solidFill>
                  <a:schemeClr val="tx1"/>
                </a:solidFill>
              </a:rPr>
              <a:t>08/02/18</a:t>
            </a: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Construction Substantial Completion: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Contractual: 1/4/22 </a:t>
            </a:r>
          </a:p>
          <a:p>
            <a:pPr lvl="1">
              <a:defRPr/>
            </a:pPr>
            <a:r>
              <a:rPr lang="en-US" sz="1300" dirty="0">
                <a:solidFill>
                  <a:schemeClr val="tx1"/>
                </a:solidFill>
              </a:rPr>
              <a:t>Projected: 1/4/22 </a:t>
            </a:r>
          </a:p>
          <a:p>
            <a:pPr lvl="1">
              <a:defRPr/>
            </a:pPr>
            <a:endParaRPr lang="en-US" sz="50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Budget: $213,817,000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Construction Expenditures to Date: $0 Construction Percent Complete</a:t>
            </a:r>
            <a:r>
              <a:rPr lang="en-US" sz="1300" dirty="0">
                <a:solidFill>
                  <a:schemeClr val="tx1"/>
                </a:solidFill>
              </a:rPr>
              <a:t>: 0</a:t>
            </a:r>
            <a:r>
              <a:rPr lang="en-US" sz="1300" dirty="0">
                <a:solidFill>
                  <a:srgbClr val="000000"/>
                </a:solidFill>
              </a:rPr>
              <a:t>%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	</a:t>
            </a:r>
            <a:endParaRPr lang="en-US" sz="1300" b="1" u="sng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ne Projects: Cabot Yard &amp; Maintenance Facility Improvemen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BA8D85-F930-485E-9F39-D8C836BF1E3C}"/>
              </a:ext>
            </a:extLst>
          </p:cNvPr>
          <p:cNvSpPr/>
          <p:nvPr/>
        </p:nvSpPr>
        <p:spPr>
          <a:xfrm>
            <a:off x="4579581" y="4655128"/>
            <a:ext cx="4429222" cy="51664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1">
              <a:spcBef>
                <a:spcPts val="600"/>
              </a:spcBef>
              <a:defRPr/>
            </a:pPr>
            <a:r>
              <a:rPr lang="en-US" sz="1200" dirty="0">
                <a:solidFill>
                  <a:srgbClr val="000000"/>
                </a:solidFill>
              </a:rPr>
              <a:t>Cabot Yard &amp; Maintenance Facility Improvem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540F5-7CAA-4D45-8AA9-1D385DDF2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3002" y="4747478"/>
            <a:ext cx="289293" cy="102897"/>
          </a:xfrm>
          <a:prstGeom prst="rect">
            <a:avLst/>
          </a:prstGeom>
          <a:solidFill>
            <a:srgbClr val="92D050"/>
          </a:solidFill>
          <a:ln w="12700">
            <a:solidFill>
              <a:srgbClr val="02AD04"/>
            </a:solidFill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7B4836-F50E-49F7-B46A-0CB87D974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3003" y="4903838"/>
            <a:ext cx="289293" cy="102897"/>
          </a:xfrm>
          <a:prstGeom prst="rect">
            <a:avLst/>
          </a:prstGeom>
          <a:solidFill>
            <a:srgbClr val="AE4BAE"/>
          </a:solidFill>
          <a:ln w="12700">
            <a:solidFill>
              <a:srgbClr val="F154F1"/>
            </a:solidFill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13262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69D5C8F-9533-4DAD-880E-36C4F515CA24}"/>
              </a:ext>
            </a:extLst>
          </p:cNvPr>
          <p:cNvGrpSpPr/>
          <p:nvPr/>
        </p:nvGrpSpPr>
        <p:grpSpPr>
          <a:xfrm>
            <a:off x="0" y="1094116"/>
            <a:ext cx="8789669" cy="5523854"/>
            <a:chOff x="0" y="1113166"/>
            <a:chExt cx="8789669" cy="552385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B4E5B104-025B-489F-95B6-7DB726BA28F5}"/>
                </a:ext>
              </a:extLst>
            </p:cNvPr>
            <p:cNvGrpSpPr/>
            <p:nvPr/>
          </p:nvGrpSpPr>
          <p:grpSpPr>
            <a:xfrm>
              <a:off x="0" y="1360170"/>
              <a:ext cx="8789669" cy="5276850"/>
              <a:chOff x="0" y="1360170"/>
              <a:chExt cx="8789669" cy="5276850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1E50E42-AE4C-4E60-8DCD-46410F1B176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7091"/>
              <a:stretch/>
            </p:blipFill>
            <p:spPr>
              <a:xfrm>
                <a:off x="3398282" y="1360170"/>
                <a:ext cx="5391387" cy="4915530"/>
              </a:xfrm>
              <a:prstGeom prst="rect">
                <a:avLst/>
              </a:prstGeom>
            </p:spPr>
          </p:pic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BD902CF5-0F7E-49C9-8234-71BC7E62600A}"/>
                  </a:ext>
                </a:extLst>
              </p:cNvPr>
              <p:cNvSpPr/>
              <p:nvPr/>
            </p:nvSpPr>
            <p:spPr bwMode="auto">
              <a:xfrm rot="10800000" flipH="1" flipV="1">
                <a:off x="0" y="1360170"/>
                <a:ext cx="6762750" cy="5276850"/>
              </a:xfrm>
              <a:custGeom>
                <a:avLst/>
                <a:gdLst>
                  <a:gd name="connsiteX0" fmla="*/ 0 w 4057710"/>
                  <a:gd name="connsiteY0" fmla="*/ 4627255 h 4627255"/>
                  <a:gd name="connsiteX1" fmla="*/ 3431078 w 4057710"/>
                  <a:gd name="connsiteY1" fmla="*/ 0 h 4627255"/>
                  <a:gd name="connsiteX2" fmla="*/ 4057710 w 4057710"/>
                  <a:gd name="connsiteY2" fmla="*/ 0 h 4627255"/>
                  <a:gd name="connsiteX3" fmla="*/ 626632 w 4057710"/>
                  <a:gd name="connsiteY3" fmla="*/ 4627255 h 4627255"/>
                  <a:gd name="connsiteX4" fmla="*/ 0 w 4057710"/>
                  <a:gd name="connsiteY4" fmla="*/ 4627255 h 4627255"/>
                  <a:gd name="connsiteX0" fmla="*/ 0 w 6811070"/>
                  <a:gd name="connsiteY0" fmla="*/ 4637415 h 4637415"/>
                  <a:gd name="connsiteX1" fmla="*/ 6184438 w 6811070"/>
                  <a:gd name="connsiteY1" fmla="*/ 0 h 4637415"/>
                  <a:gd name="connsiteX2" fmla="*/ 6811070 w 6811070"/>
                  <a:gd name="connsiteY2" fmla="*/ 0 h 4637415"/>
                  <a:gd name="connsiteX3" fmla="*/ 3379992 w 6811070"/>
                  <a:gd name="connsiteY3" fmla="*/ 4627255 h 4637415"/>
                  <a:gd name="connsiteX4" fmla="*/ 0 w 6811070"/>
                  <a:gd name="connsiteY4" fmla="*/ 4637415 h 4637415"/>
                  <a:gd name="connsiteX0" fmla="*/ 53802 w 6864872"/>
                  <a:gd name="connsiteY0" fmla="*/ 4637415 h 4637415"/>
                  <a:gd name="connsiteX1" fmla="*/ 0 w 6864872"/>
                  <a:gd name="connsiteY1" fmla="*/ 20320 h 4637415"/>
                  <a:gd name="connsiteX2" fmla="*/ 6864872 w 6864872"/>
                  <a:gd name="connsiteY2" fmla="*/ 0 h 4637415"/>
                  <a:gd name="connsiteX3" fmla="*/ 3433794 w 6864872"/>
                  <a:gd name="connsiteY3" fmla="*/ 4627255 h 4637415"/>
                  <a:gd name="connsiteX4" fmla="*/ 53802 w 6864872"/>
                  <a:gd name="connsiteY4" fmla="*/ 4637415 h 463741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443954 w 6875032"/>
                  <a:gd name="connsiteY3" fmla="*/ 4637415 h 4647575"/>
                  <a:gd name="connsiteX4" fmla="*/ 63962 w 6875032"/>
                  <a:gd name="connsiteY4" fmla="*/ 4647575 h 464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75032" h="4647575">
                    <a:moveTo>
                      <a:pt x="63962" y="4647575"/>
                    </a:moveTo>
                    <a:lnTo>
                      <a:pt x="0" y="0"/>
                    </a:lnTo>
                    <a:lnTo>
                      <a:pt x="6875032" y="10160"/>
                    </a:lnTo>
                    <a:lnTo>
                      <a:pt x="3443954" y="4637415"/>
                    </a:lnTo>
                    <a:lnTo>
                      <a:pt x="63962" y="4647575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spcAft>
                    <a:spcPts val="300"/>
                  </a:spcAft>
                  <a:buSzPts val="1300"/>
                  <a:tabLst>
                    <a:tab pos="5486400" algn="l"/>
                  </a:tabLst>
                </a:pPr>
                <a:endParaRPr lang="en-US" dirty="0">
                  <a:latin typeface="Arial" panose="020B0604020202020204" pitchFamily="34" charset="0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6BEFA7C7-C0F2-4991-9395-FFAF38060F49}"/>
                </a:ext>
              </a:extLst>
            </p:cNvPr>
            <p:cNvSpPr/>
            <p:nvPr/>
          </p:nvSpPr>
          <p:spPr bwMode="auto">
            <a:xfrm rot="10800000" flipH="1" flipV="1">
              <a:off x="78068" y="1113166"/>
              <a:ext cx="7164741" cy="5383761"/>
            </a:xfrm>
            <a:custGeom>
              <a:avLst/>
              <a:gdLst>
                <a:gd name="connsiteX0" fmla="*/ 0 w 4057710"/>
                <a:gd name="connsiteY0" fmla="*/ 4627255 h 4627255"/>
                <a:gd name="connsiteX1" fmla="*/ 3431078 w 4057710"/>
                <a:gd name="connsiteY1" fmla="*/ 0 h 4627255"/>
                <a:gd name="connsiteX2" fmla="*/ 4057710 w 4057710"/>
                <a:gd name="connsiteY2" fmla="*/ 0 h 4627255"/>
                <a:gd name="connsiteX3" fmla="*/ 626632 w 4057710"/>
                <a:gd name="connsiteY3" fmla="*/ 4627255 h 4627255"/>
                <a:gd name="connsiteX4" fmla="*/ 0 w 4057710"/>
                <a:gd name="connsiteY4" fmla="*/ 4627255 h 4627255"/>
                <a:gd name="connsiteX0" fmla="*/ 0 w 6811070"/>
                <a:gd name="connsiteY0" fmla="*/ 4637415 h 4637415"/>
                <a:gd name="connsiteX1" fmla="*/ 6184438 w 6811070"/>
                <a:gd name="connsiteY1" fmla="*/ 0 h 4637415"/>
                <a:gd name="connsiteX2" fmla="*/ 6811070 w 6811070"/>
                <a:gd name="connsiteY2" fmla="*/ 0 h 4637415"/>
                <a:gd name="connsiteX3" fmla="*/ 3379992 w 6811070"/>
                <a:gd name="connsiteY3" fmla="*/ 4627255 h 4637415"/>
                <a:gd name="connsiteX4" fmla="*/ 0 w 6811070"/>
                <a:gd name="connsiteY4" fmla="*/ 4637415 h 4637415"/>
                <a:gd name="connsiteX0" fmla="*/ 53802 w 6864872"/>
                <a:gd name="connsiteY0" fmla="*/ 4637415 h 4637415"/>
                <a:gd name="connsiteX1" fmla="*/ 0 w 6864872"/>
                <a:gd name="connsiteY1" fmla="*/ 20320 h 4637415"/>
                <a:gd name="connsiteX2" fmla="*/ 6864872 w 6864872"/>
                <a:gd name="connsiteY2" fmla="*/ 0 h 4637415"/>
                <a:gd name="connsiteX3" fmla="*/ 3433794 w 6864872"/>
                <a:gd name="connsiteY3" fmla="*/ 4627255 h 4637415"/>
                <a:gd name="connsiteX4" fmla="*/ 53802 w 6864872"/>
                <a:gd name="connsiteY4" fmla="*/ 4637415 h 4637415"/>
                <a:gd name="connsiteX0" fmla="*/ 63962 w 6875032"/>
                <a:gd name="connsiteY0" fmla="*/ 4647575 h 4647575"/>
                <a:gd name="connsiteX1" fmla="*/ 0 w 6875032"/>
                <a:gd name="connsiteY1" fmla="*/ 0 h 4647575"/>
                <a:gd name="connsiteX2" fmla="*/ 6875032 w 6875032"/>
                <a:gd name="connsiteY2" fmla="*/ 10160 h 4647575"/>
                <a:gd name="connsiteX3" fmla="*/ 3443954 w 6875032"/>
                <a:gd name="connsiteY3" fmla="*/ 4637415 h 4647575"/>
                <a:gd name="connsiteX4" fmla="*/ 63962 w 6875032"/>
                <a:gd name="connsiteY4" fmla="*/ 4647575 h 4647575"/>
                <a:gd name="connsiteX0" fmla="*/ 63962 w 6875032"/>
                <a:gd name="connsiteY0" fmla="*/ 4647575 h 4647575"/>
                <a:gd name="connsiteX1" fmla="*/ 0 w 6875032"/>
                <a:gd name="connsiteY1" fmla="*/ 0 h 4647575"/>
                <a:gd name="connsiteX2" fmla="*/ 6875032 w 6875032"/>
                <a:gd name="connsiteY2" fmla="*/ 10160 h 4647575"/>
                <a:gd name="connsiteX3" fmla="*/ 3487838 w 6875032"/>
                <a:gd name="connsiteY3" fmla="*/ 4528193 h 4647575"/>
                <a:gd name="connsiteX4" fmla="*/ 63962 w 6875032"/>
                <a:gd name="connsiteY4" fmla="*/ 4647575 h 4647575"/>
                <a:gd name="connsiteX0" fmla="*/ 63962 w 6875032"/>
                <a:gd name="connsiteY0" fmla="*/ 4647575 h 4647575"/>
                <a:gd name="connsiteX1" fmla="*/ 0 w 6875032"/>
                <a:gd name="connsiteY1" fmla="*/ 0 h 4647575"/>
                <a:gd name="connsiteX2" fmla="*/ 6875032 w 6875032"/>
                <a:gd name="connsiteY2" fmla="*/ 10160 h 4647575"/>
                <a:gd name="connsiteX3" fmla="*/ 3597546 w 6875032"/>
                <a:gd name="connsiteY3" fmla="*/ 4528193 h 4647575"/>
                <a:gd name="connsiteX4" fmla="*/ 63962 w 6875032"/>
                <a:gd name="connsiteY4" fmla="*/ 4647575 h 4647575"/>
                <a:gd name="connsiteX0" fmla="*/ 63962 w 6875032"/>
                <a:gd name="connsiteY0" fmla="*/ 4647575 h 4647575"/>
                <a:gd name="connsiteX1" fmla="*/ 0 w 6875032"/>
                <a:gd name="connsiteY1" fmla="*/ 0 h 4647575"/>
                <a:gd name="connsiteX2" fmla="*/ 6875032 w 6875032"/>
                <a:gd name="connsiteY2" fmla="*/ 10160 h 4647575"/>
                <a:gd name="connsiteX3" fmla="*/ 3553662 w 6875032"/>
                <a:gd name="connsiteY3" fmla="*/ 4617557 h 4647575"/>
                <a:gd name="connsiteX4" fmla="*/ 63962 w 6875032"/>
                <a:gd name="connsiteY4" fmla="*/ 4647575 h 4647575"/>
                <a:gd name="connsiteX0" fmla="*/ 63962 w 6875032"/>
                <a:gd name="connsiteY0" fmla="*/ 4647575 h 4657274"/>
                <a:gd name="connsiteX1" fmla="*/ 0 w 6875032"/>
                <a:gd name="connsiteY1" fmla="*/ 0 h 4657274"/>
                <a:gd name="connsiteX2" fmla="*/ 6875032 w 6875032"/>
                <a:gd name="connsiteY2" fmla="*/ 10160 h 4657274"/>
                <a:gd name="connsiteX3" fmla="*/ 3531721 w 6875032"/>
                <a:gd name="connsiteY3" fmla="*/ 4657274 h 4657274"/>
                <a:gd name="connsiteX4" fmla="*/ 63962 w 6875032"/>
                <a:gd name="connsiteY4" fmla="*/ 4647575 h 4657274"/>
                <a:gd name="connsiteX0" fmla="*/ 63962 w 6875032"/>
                <a:gd name="connsiteY0" fmla="*/ 4647575 h 4696991"/>
                <a:gd name="connsiteX1" fmla="*/ 0 w 6875032"/>
                <a:gd name="connsiteY1" fmla="*/ 0 h 4696991"/>
                <a:gd name="connsiteX2" fmla="*/ 6875032 w 6875032"/>
                <a:gd name="connsiteY2" fmla="*/ 10160 h 4696991"/>
                <a:gd name="connsiteX3" fmla="*/ 3498808 w 6875032"/>
                <a:gd name="connsiteY3" fmla="*/ 4696991 h 4696991"/>
                <a:gd name="connsiteX4" fmla="*/ 63962 w 6875032"/>
                <a:gd name="connsiteY4" fmla="*/ 4647575 h 4696991"/>
                <a:gd name="connsiteX0" fmla="*/ 0 w 6811070"/>
                <a:gd name="connsiteY0" fmla="*/ 4637415 h 4686831"/>
                <a:gd name="connsiteX1" fmla="*/ 3874554 w 6811070"/>
                <a:gd name="connsiteY1" fmla="*/ 1161497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415 h 4686831"/>
                <a:gd name="connsiteX1" fmla="*/ 2393496 w 6811070"/>
                <a:gd name="connsiteY1" fmla="*/ 168567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415 h 4686831"/>
                <a:gd name="connsiteX1" fmla="*/ 2448350 w 6811070"/>
                <a:gd name="connsiteY1" fmla="*/ 59345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415 h 4686831"/>
                <a:gd name="connsiteX1" fmla="*/ 2601942 w 6811070"/>
                <a:gd name="connsiteY1" fmla="*/ 1568599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415 h 4686831"/>
                <a:gd name="connsiteX1" fmla="*/ 1801074 w 6811070"/>
                <a:gd name="connsiteY1" fmla="*/ 883478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415 h 4686831"/>
                <a:gd name="connsiteX1" fmla="*/ 5377554 w 6811070"/>
                <a:gd name="connsiteY1" fmla="*/ 9699 h 4686831"/>
                <a:gd name="connsiteX2" fmla="*/ 6811070 w 6811070"/>
                <a:gd name="connsiteY2" fmla="*/ 0 h 4686831"/>
                <a:gd name="connsiteX3" fmla="*/ 3434846 w 6811070"/>
                <a:gd name="connsiteY3" fmla="*/ 4686831 h 4686831"/>
                <a:gd name="connsiteX4" fmla="*/ 0 w 6811070"/>
                <a:gd name="connsiteY4" fmla="*/ 4637415 h 4686831"/>
                <a:gd name="connsiteX0" fmla="*/ 0 w 6811070"/>
                <a:gd name="connsiteY0" fmla="*/ 4637645 h 4687061"/>
                <a:gd name="connsiteX1" fmla="*/ 5596971 w 6811070"/>
                <a:gd name="connsiteY1" fmla="*/ 0 h 4687061"/>
                <a:gd name="connsiteX2" fmla="*/ 6811070 w 6811070"/>
                <a:gd name="connsiteY2" fmla="*/ 230 h 4687061"/>
                <a:gd name="connsiteX3" fmla="*/ 3434846 w 6811070"/>
                <a:gd name="connsiteY3" fmla="*/ 4687061 h 4687061"/>
                <a:gd name="connsiteX4" fmla="*/ 0 w 6811070"/>
                <a:gd name="connsiteY4" fmla="*/ 4637645 h 4687061"/>
                <a:gd name="connsiteX0" fmla="*/ 0 w 6712333"/>
                <a:gd name="connsiteY0" fmla="*/ 4637645 h 4687061"/>
                <a:gd name="connsiteX1" fmla="*/ 5596971 w 6712333"/>
                <a:gd name="connsiteY1" fmla="*/ 0 h 4687061"/>
                <a:gd name="connsiteX2" fmla="*/ 6712333 w 6712333"/>
                <a:gd name="connsiteY2" fmla="*/ 119382 h 4687061"/>
                <a:gd name="connsiteX3" fmla="*/ 3434846 w 6712333"/>
                <a:gd name="connsiteY3" fmla="*/ 4687061 h 4687061"/>
                <a:gd name="connsiteX4" fmla="*/ 0 w 6712333"/>
                <a:gd name="connsiteY4" fmla="*/ 4637645 h 4687061"/>
                <a:gd name="connsiteX0" fmla="*/ 0 w 6789129"/>
                <a:gd name="connsiteY0" fmla="*/ 4637645 h 4687061"/>
                <a:gd name="connsiteX1" fmla="*/ 5596971 w 6789129"/>
                <a:gd name="connsiteY1" fmla="*/ 0 h 4687061"/>
                <a:gd name="connsiteX2" fmla="*/ 6789129 w 6789129"/>
                <a:gd name="connsiteY2" fmla="*/ 39947 h 4687061"/>
                <a:gd name="connsiteX3" fmla="*/ 3434846 w 6789129"/>
                <a:gd name="connsiteY3" fmla="*/ 4687061 h 4687061"/>
                <a:gd name="connsiteX4" fmla="*/ 0 w 6789129"/>
                <a:gd name="connsiteY4" fmla="*/ 4637645 h 4687061"/>
                <a:gd name="connsiteX0" fmla="*/ 0 w 6701363"/>
                <a:gd name="connsiteY0" fmla="*/ 4637645 h 4687061"/>
                <a:gd name="connsiteX1" fmla="*/ 5596971 w 6701363"/>
                <a:gd name="connsiteY1" fmla="*/ 0 h 4687061"/>
                <a:gd name="connsiteX2" fmla="*/ 6701363 w 6701363"/>
                <a:gd name="connsiteY2" fmla="*/ 119382 h 4687061"/>
                <a:gd name="connsiteX3" fmla="*/ 3434846 w 6701363"/>
                <a:gd name="connsiteY3" fmla="*/ 4687061 h 4687061"/>
                <a:gd name="connsiteX4" fmla="*/ 0 w 6701363"/>
                <a:gd name="connsiteY4" fmla="*/ 4637645 h 4687061"/>
                <a:gd name="connsiteX0" fmla="*/ 0 w 6778159"/>
                <a:gd name="connsiteY0" fmla="*/ 4667203 h 4716619"/>
                <a:gd name="connsiteX1" fmla="*/ 5596971 w 6778159"/>
                <a:gd name="connsiteY1" fmla="*/ 29558 h 4716619"/>
                <a:gd name="connsiteX2" fmla="*/ 6778159 w 6778159"/>
                <a:gd name="connsiteY2" fmla="*/ 0 h 4716619"/>
                <a:gd name="connsiteX3" fmla="*/ 3434846 w 6778159"/>
                <a:gd name="connsiteY3" fmla="*/ 4716619 h 4716619"/>
                <a:gd name="connsiteX4" fmla="*/ 0 w 6778159"/>
                <a:gd name="connsiteY4" fmla="*/ 4667203 h 4716619"/>
                <a:gd name="connsiteX0" fmla="*/ 0 w 6843984"/>
                <a:gd name="connsiteY0" fmla="*/ 4667203 h 4716619"/>
                <a:gd name="connsiteX1" fmla="*/ 5596971 w 6843984"/>
                <a:gd name="connsiteY1" fmla="*/ 29558 h 4716619"/>
                <a:gd name="connsiteX2" fmla="*/ 6843984 w 6843984"/>
                <a:gd name="connsiteY2" fmla="*/ 0 h 4716619"/>
                <a:gd name="connsiteX3" fmla="*/ 3434846 w 6843984"/>
                <a:gd name="connsiteY3" fmla="*/ 4716619 h 4716619"/>
                <a:gd name="connsiteX4" fmla="*/ 0 w 6843984"/>
                <a:gd name="connsiteY4" fmla="*/ 4667203 h 4716619"/>
                <a:gd name="connsiteX0" fmla="*/ 0 w 6876896"/>
                <a:gd name="connsiteY0" fmla="*/ 4657274 h 4706690"/>
                <a:gd name="connsiteX1" fmla="*/ 5596971 w 6876896"/>
                <a:gd name="connsiteY1" fmla="*/ 19629 h 4706690"/>
                <a:gd name="connsiteX2" fmla="*/ 6876896 w 6876896"/>
                <a:gd name="connsiteY2" fmla="*/ 0 h 4706690"/>
                <a:gd name="connsiteX3" fmla="*/ 3434846 w 6876896"/>
                <a:gd name="connsiteY3" fmla="*/ 4706690 h 4706690"/>
                <a:gd name="connsiteX4" fmla="*/ 0 w 6876896"/>
                <a:gd name="connsiteY4" fmla="*/ 4657274 h 4706690"/>
                <a:gd name="connsiteX0" fmla="*/ 0 w 6876896"/>
                <a:gd name="connsiteY0" fmla="*/ 4657274 h 4676902"/>
                <a:gd name="connsiteX1" fmla="*/ 5596971 w 6876896"/>
                <a:gd name="connsiteY1" fmla="*/ 19629 h 4676902"/>
                <a:gd name="connsiteX2" fmla="*/ 6876896 w 6876896"/>
                <a:gd name="connsiteY2" fmla="*/ 0 h 4676902"/>
                <a:gd name="connsiteX3" fmla="*/ 3566496 w 6876896"/>
                <a:gd name="connsiteY3" fmla="*/ 4676902 h 4676902"/>
                <a:gd name="connsiteX4" fmla="*/ 0 w 6876896"/>
                <a:gd name="connsiteY4" fmla="*/ 4657274 h 4676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76896" h="4676902">
                  <a:moveTo>
                    <a:pt x="0" y="4657274"/>
                  </a:moveTo>
                  <a:lnTo>
                    <a:pt x="5596971" y="19629"/>
                  </a:lnTo>
                  <a:lnTo>
                    <a:pt x="6876896" y="0"/>
                  </a:lnTo>
                  <a:lnTo>
                    <a:pt x="3566496" y="4676902"/>
                  </a:lnTo>
                  <a:lnTo>
                    <a:pt x="0" y="46572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BE69406-1B49-4CFE-BC9C-4C52B9354861}"/>
                </a:ext>
              </a:extLst>
            </p:cNvPr>
            <p:cNvCxnSpPr/>
            <p:nvPr/>
          </p:nvCxnSpPr>
          <p:spPr>
            <a:xfrm>
              <a:off x="447675" y="1325563"/>
              <a:ext cx="8321675" cy="0"/>
            </a:xfrm>
            <a:prstGeom prst="line">
              <a:avLst/>
            </a:prstGeom>
            <a:ln w="9525">
              <a:solidFill>
                <a:schemeClr val="tx1"/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als Upgrade Projects Status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6B7AAF-CC55-428B-ACA0-D9B9BE90D0C7}"/>
              </a:ext>
            </a:extLst>
          </p:cNvPr>
          <p:cNvSpPr/>
          <p:nvPr/>
        </p:nvSpPr>
        <p:spPr>
          <a:xfrm>
            <a:off x="462685" y="1617719"/>
            <a:ext cx="4071622" cy="172299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RFP Issued – 02/12/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Proposer Meetings – 05/30/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Proposals Due – 08/20/18</a:t>
            </a:r>
          </a:p>
          <a:p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Public Price Opening – 9/20/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NOA – October 20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NTP – </a:t>
            </a:r>
            <a:r>
              <a:rPr lang="en-US" sz="1300" dirty="0">
                <a:solidFill>
                  <a:schemeClr val="tx1"/>
                </a:solidFill>
                <a:latin typeface="Verdana"/>
                <a:cs typeface="Arial"/>
              </a:rPr>
              <a:t>October 2018</a:t>
            </a:r>
          </a:p>
          <a:p>
            <a:pPr lvl="0">
              <a:defRPr/>
            </a:pPr>
            <a:r>
              <a:rPr lang="en-US" sz="1300" dirty="0">
                <a:solidFill>
                  <a:schemeClr val="tx1"/>
                </a:solidFill>
              </a:rPr>
              <a:t>Substantial Completion RL – December 2021 </a:t>
            </a:r>
          </a:p>
          <a:p>
            <a:pPr>
              <a:defRPr/>
            </a:pPr>
            <a:r>
              <a:rPr lang="en-US" sz="1300" dirty="0">
                <a:solidFill>
                  <a:schemeClr val="tx1"/>
                </a:solidFill>
              </a:rPr>
              <a:t>Substantial Completion OL – April 2022</a:t>
            </a:r>
            <a:endParaRPr lang="en-US" sz="1300" dirty="0">
              <a:solidFill>
                <a:schemeClr val="tx1"/>
              </a:solidFill>
              <a:highlight>
                <a:srgbClr val="FFFF00"/>
              </a:highlight>
              <a:latin typeface="Verdana"/>
              <a:cs typeface="Arial"/>
            </a:endParaRPr>
          </a:p>
          <a:p>
            <a:pPr lvl="0">
              <a:defRPr/>
            </a:pPr>
            <a:r>
              <a:rPr kumimoji="0" lang="en-US" sz="130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Verdana"/>
                <a:ea typeface="+mn-ea"/>
                <a:cs typeface="Arial"/>
              </a:rPr>
              <a:t> </a:t>
            </a:r>
          </a:p>
          <a:p>
            <a:pPr lvl="0">
              <a:defRPr/>
            </a:pPr>
            <a:endParaRPr kumimoji="0" lang="en-US" sz="13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Verdana"/>
              <a:ea typeface="+mn-ea"/>
              <a:cs typeface="Arial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9C174D-7053-4697-87EB-2A2E5215DA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95389"/>
              </p:ext>
            </p:extLst>
          </p:nvPr>
        </p:nvGraphicFramePr>
        <p:xfrm>
          <a:off x="462685" y="3480810"/>
          <a:ext cx="4071620" cy="662940"/>
        </p:xfrm>
        <a:graphic>
          <a:graphicData uri="http://schemas.openxmlformats.org/drawingml/2006/table">
            <a:tbl>
              <a:tblPr/>
              <a:tblGrid>
                <a:gridCol w="4071620">
                  <a:extLst>
                    <a:ext uri="{9D8B030D-6E8A-4147-A177-3AD203B41FA5}">
                      <a16:colId xmlns:a16="http://schemas.microsoft.com/office/drawing/2014/main" val="39138999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d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073347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  <a:tabLst>
                          <a:tab pos="5486400" algn="l"/>
                        </a:tabLs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L Signaling and Train Control System Upgrad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779010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  <a:tabLst>
                          <a:tab pos="5486400" algn="l"/>
                        </a:tabLs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L Columbia Junction Phase II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27117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FF32A96A-F3BD-470D-9963-3414DD9E31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3224999"/>
              </p:ext>
            </p:extLst>
          </p:nvPr>
        </p:nvGraphicFramePr>
        <p:xfrm>
          <a:off x="462685" y="4364355"/>
          <a:ext cx="4071620" cy="632460"/>
        </p:xfrm>
        <a:graphic>
          <a:graphicData uri="http://schemas.openxmlformats.org/drawingml/2006/table">
            <a:tbl>
              <a:tblPr/>
              <a:tblGrid>
                <a:gridCol w="4071620">
                  <a:extLst>
                    <a:ext uri="{9D8B030D-6E8A-4147-A177-3AD203B41FA5}">
                      <a16:colId xmlns:a16="http://schemas.microsoft.com/office/drawing/2014/main" val="15077465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ange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171026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tabLst>
                          <a:tab pos="5486400" algn="l"/>
                        </a:tabLs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OL Signaling and Train Control System Upgrade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301076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5486400" algn="l"/>
                        </a:tabLst>
                        <a:defRPr/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OL South West Corridor Wayside Signal Replacement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1388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86604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A6095A9C-30A2-4816-9976-3748632E1F64}"/>
              </a:ext>
            </a:extLst>
          </p:cNvPr>
          <p:cNvGrpSpPr/>
          <p:nvPr/>
        </p:nvGrpSpPr>
        <p:grpSpPr>
          <a:xfrm>
            <a:off x="0" y="1103641"/>
            <a:ext cx="8789669" cy="5533379"/>
            <a:chOff x="0" y="1103641"/>
            <a:chExt cx="8789669" cy="553337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D793F8F-ED27-4EE3-81C6-92E2CFCA8D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091"/>
            <a:stretch/>
          </p:blipFill>
          <p:spPr>
            <a:xfrm>
              <a:off x="3398282" y="1360170"/>
              <a:ext cx="5391387" cy="4915530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F8C7DD8-DA3A-4B2A-B973-5F618E62419D}"/>
                </a:ext>
              </a:extLst>
            </p:cNvPr>
            <p:cNvGrpSpPr/>
            <p:nvPr/>
          </p:nvGrpSpPr>
          <p:grpSpPr>
            <a:xfrm>
              <a:off x="0" y="1103641"/>
              <a:ext cx="8769350" cy="5533379"/>
              <a:chOff x="0" y="1103641"/>
              <a:chExt cx="8769350" cy="5533379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F67A3686-3E85-4933-98AD-2F9B880793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2116" r="1379"/>
              <a:stretch/>
            </p:blipFill>
            <p:spPr>
              <a:xfrm>
                <a:off x="5086350" y="1509465"/>
                <a:ext cx="3561093" cy="4669450"/>
              </a:xfrm>
              <a:prstGeom prst="rect">
                <a:avLst/>
              </a:prstGeom>
            </p:spPr>
          </p:pic>
          <p:sp>
            <p:nvSpPr>
              <p:cNvPr id="10" name="Rectangle 11">
                <a:extLst>
                  <a:ext uri="{FF2B5EF4-FFF2-40B4-BE49-F238E27FC236}">
                    <a16:creationId xmlns:a16="http://schemas.microsoft.com/office/drawing/2014/main" id="{33BE826B-B26B-43F2-87EE-31CB49CB4B79}"/>
                  </a:ext>
                </a:extLst>
              </p:cNvPr>
              <p:cNvSpPr/>
              <p:nvPr/>
            </p:nvSpPr>
            <p:spPr bwMode="auto">
              <a:xfrm rot="10800000" flipH="1" flipV="1">
                <a:off x="78068" y="1103641"/>
                <a:ext cx="7164741" cy="5383761"/>
              </a:xfrm>
              <a:custGeom>
                <a:avLst/>
                <a:gdLst>
                  <a:gd name="connsiteX0" fmla="*/ 0 w 4057710"/>
                  <a:gd name="connsiteY0" fmla="*/ 4627255 h 4627255"/>
                  <a:gd name="connsiteX1" fmla="*/ 3431078 w 4057710"/>
                  <a:gd name="connsiteY1" fmla="*/ 0 h 4627255"/>
                  <a:gd name="connsiteX2" fmla="*/ 4057710 w 4057710"/>
                  <a:gd name="connsiteY2" fmla="*/ 0 h 4627255"/>
                  <a:gd name="connsiteX3" fmla="*/ 626632 w 4057710"/>
                  <a:gd name="connsiteY3" fmla="*/ 4627255 h 4627255"/>
                  <a:gd name="connsiteX4" fmla="*/ 0 w 4057710"/>
                  <a:gd name="connsiteY4" fmla="*/ 4627255 h 4627255"/>
                  <a:gd name="connsiteX0" fmla="*/ 0 w 6811070"/>
                  <a:gd name="connsiteY0" fmla="*/ 4637415 h 4637415"/>
                  <a:gd name="connsiteX1" fmla="*/ 6184438 w 6811070"/>
                  <a:gd name="connsiteY1" fmla="*/ 0 h 4637415"/>
                  <a:gd name="connsiteX2" fmla="*/ 6811070 w 6811070"/>
                  <a:gd name="connsiteY2" fmla="*/ 0 h 4637415"/>
                  <a:gd name="connsiteX3" fmla="*/ 3379992 w 6811070"/>
                  <a:gd name="connsiteY3" fmla="*/ 4627255 h 4637415"/>
                  <a:gd name="connsiteX4" fmla="*/ 0 w 6811070"/>
                  <a:gd name="connsiteY4" fmla="*/ 4637415 h 4637415"/>
                  <a:gd name="connsiteX0" fmla="*/ 53802 w 6864872"/>
                  <a:gd name="connsiteY0" fmla="*/ 4637415 h 4637415"/>
                  <a:gd name="connsiteX1" fmla="*/ 0 w 6864872"/>
                  <a:gd name="connsiteY1" fmla="*/ 20320 h 4637415"/>
                  <a:gd name="connsiteX2" fmla="*/ 6864872 w 6864872"/>
                  <a:gd name="connsiteY2" fmla="*/ 0 h 4637415"/>
                  <a:gd name="connsiteX3" fmla="*/ 3433794 w 6864872"/>
                  <a:gd name="connsiteY3" fmla="*/ 4627255 h 4637415"/>
                  <a:gd name="connsiteX4" fmla="*/ 53802 w 6864872"/>
                  <a:gd name="connsiteY4" fmla="*/ 4637415 h 463741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443954 w 6875032"/>
                  <a:gd name="connsiteY3" fmla="*/ 4637415 h 4647575"/>
                  <a:gd name="connsiteX4" fmla="*/ 63962 w 6875032"/>
                  <a:gd name="connsiteY4" fmla="*/ 4647575 h 464757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487838 w 6875032"/>
                  <a:gd name="connsiteY3" fmla="*/ 4528193 h 4647575"/>
                  <a:gd name="connsiteX4" fmla="*/ 63962 w 6875032"/>
                  <a:gd name="connsiteY4" fmla="*/ 4647575 h 464757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597546 w 6875032"/>
                  <a:gd name="connsiteY3" fmla="*/ 4528193 h 4647575"/>
                  <a:gd name="connsiteX4" fmla="*/ 63962 w 6875032"/>
                  <a:gd name="connsiteY4" fmla="*/ 4647575 h 464757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553662 w 6875032"/>
                  <a:gd name="connsiteY3" fmla="*/ 4617557 h 4647575"/>
                  <a:gd name="connsiteX4" fmla="*/ 63962 w 6875032"/>
                  <a:gd name="connsiteY4" fmla="*/ 4647575 h 4647575"/>
                  <a:gd name="connsiteX0" fmla="*/ 63962 w 6875032"/>
                  <a:gd name="connsiteY0" fmla="*/ 4647575 h 4657274"/>
                  <a:gd name="connsiteX1" fmla="*/ 0 w 6875032"/>
                  <a:gd name="connsiteY1" fmla="*/ 0 h 4657274"/>
                  <a:gd name="connsiteX2" fmla="*/ 6875032 w 6875032"/>
                  <a:gd name="connsiteY2" fmla="*/ 10160 h 4657274"/>
                  <a:gd name="connsiteX3" fmla="*/ 3531721 w 6875032"/>
                  <a:gd name="connsiteY3" fmla="*/ 4657274 h 4657274"/>
                  <a:gd name="connsiteX4" fmla="*/ 63962 w 6875032"/>
                  <a:gd name="connsiteY4" fmla="*/ 4647575 h 4657274"/>
                  <a:gd name="connsiteX0" fmla="*/ 63962 w 6875032"/>
                  <a:gd name="connsiteY0" fmla="*/ 4647575 h 4696991"/>
                  <a:gd name="connsiteX1" fmla="*/ 0 w 6875032"/>
                  <a:gd name="connsiteY1" fmla="*/ 0 h 4696991"/>
                  <a:gd name="connsiteX2" fmla="*/ 6875032 w 6875032"/>
                  <a:gd name="connsiteY2" fmla="*/ 10160 h 4696991"/>
                  <a:gd name="connsiteX3" fmla="*/ 3498808 w 6875032"/>
                  <a:gd name="connsiteY3" fmla="*/ 4696991 h 4696991"/>
                  <a:gd name="connsiteX4" fmla="*/ 63962 w 6875032"/>
                  <a:gd name="connsiteY4" fmla="*/ 4647575 h 4696991"/>
                  <a:gd name="connsiteX0" fmla="*/ 0 w 6811070"/>
                  <a:gd name="connsiteY0" fmla="*/ 4637415 h 4686831"/>
                  <a:gd name="connsiteX1" fmla="*/ 3874554 w 6811070"/>
                  <a:gd name="connsiteY1" fmla="*/ 1161497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415 h 4686831"/>
                  <a:gd name="connsiteX1" fmla="*/ 2393496 w 6811070"/>
                  <a:gd name="connsiteY1" fmla="*/ 168567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415 h 4686831"/>
                  <a:gd name="connsiteX1" fmla="*/ 2448350 w 6811070"/>
                  <a:gd name="connsiteY1" fmla="*/ 59345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415 h 4686831"/>
                  <a:gd name="connsiteX1" fmla="*/ 2601942 w 6811070"/>
                  <a:gd name="connsiteY1" fmla="*/ 1568599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415 h 4686831"/>
                  <a:gd name="connsiteX1" fmla="*/ 1801074 w 6811070"/>
                  <a:gd name="connsiteY1" fmla="*/ 883478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415 h 4686831"/>
                  <a:gd name="connsiteX1" fmla="*/ 5377554 w 6811070"/>
                  <a:gd name="connsiteY1" fmla="*/ 9699 h 4686831"/>
                  <a:gd name="connsiteX2" fmla="*/ 6811070 w 6811070"/>
                  <a:gd name="connsiteY2" fmla="*/ 0 h 4686831"/>
                  <a:gd name="connsiteX3" fmla="*/ 3434846 w 6811070"/>
                  <a:gd name="connsiteY3" fmla="*/ 4686831 h 4686831"/>
                  <a:gd name="connsiteX4" fmla="*/ 0 w 6811070"/>
                  <a:gd name="connsiteY4" fmla="*/ 4637415 h 4686831"/>
                  <a:gd name="connsiteX0" fmla="*/ 0 w 6811070"/>
                  <a:gd name="connsiteY0" fmla="*/ 4637645 h 4687061"/>
                  <a:gd name="connsiteX1" fmla="*/ 5596971 w 6811070"/>
                  <a:gd name="connsiteY1" fmla="*/ 0 h 4687061"/>
                  <a:gd name="connsiteX2" fmla="*/ 6811070 w 6811070"/>
                  <a:gd name="connsiteY2" fmla="*/ 230 h 4687061"/>
                  <a:gd name="connsiteX3" fmla="*/ 3434846 w 6811070"/>
                  <a:gd name="connsiteY3" fmla="*/ 4687061 h 4687061"/>
                  <a:gd name="connsiteX4" fmla="*/ 0 w 6811070"/>
                  <a:gd name="connsiteY4" fmla="*/ 4637645 h 4687061"/>
                  <a:gd name="connsiteX0" fmla="*/ 0 w 6712333"/>
                  <a:gd name="connsiteY0" fmla="*/ 4637645 h 4687061"/>
                  <a:gd name="connsiteX1" fmla="*/ 5596971 w 6712333"/>
                  <a:gd name="connsiteY1" fmla="*/ 0 h 4687061"/>
                  <a:gd name="connsiteX2" fmla="*/ 6712333 w 6712333"/>
                  <a:gd name="connsiteY2" fmla="*/ 119382 h 4687061"/>
                  <a:gd name="connsiteX3" fmla="*/ 3434846 w 6712333"/>
                  <a:gd name="connsiteY3" fmla="*/ 4687061 h 4687061"/>
                  <a:gd name="connsiteX4" fmla="*/ 0 w 6712333"/>
                  <a:gd name="connsiteY4" fmla="*/ 4637645 h 4687061"/>
                  <a:gd name="connsiteX0" fmla="*/ 0 w 6789129"/>
                  <a:gd name="connsiteY0" fmla="*/ 4637645 h 4687061"/>
                  <a:gd name="connsiteX1" fmla="*/ 5596971 w 6789129"/>
                  <a:gd name="connsiteY1" fmla="*/ 0 h 4687061"/>
                  <a:gd name="connsiteX2" fmla="*/ 6789129 w 6789129"/>
                  <a:gd name="connsiteY2" fmla="*/ 39947 h 4687061"/>
                  <a:gd name="connsiteX3" fmla="*/ 3434846 w 6789129"/>
                  <a:gd name="connsiteY3" fmla="*/ 4687061 h 4687061"/>
                  <a:gd name="connsiteX4" fmla="*/ 0 w 6789129"/>
                  <a:gd name="connsiteY4" fmla="*/ 4637645 h 4687061"/>
                  <a:gd name="connsiteX0" fmla="*/ 0 w 6701363"/>
                  <a:gd name="connsiteY0" fmla="*/ 4637645 h 4687061"/>
                  <a:gd name="connsiteX1" fmla="*/ 5596971 w 6701363"/>
                  <a:gd name="connsiteY1" fmla="*/ 0 h 4687061"/>
                  <a:gd name="connsiteX2" fmla="*/ 6701363 w 6701363"/>
                  <a:gd name="connsiteY2" fmla="*/ 119382 h 4687061"/>
                  <a:gd name="connsiteX3" fmla="*/ 3434846 w 6701363"/>
                  <a:gd name="connsiteY3" fmla="*/ 4687061 h 4687061"/>
                  <a:gd name="connsiteX4" fmla="*/ 0 w 6701363"/>
                  <a:gd name="connsiteY4" fmla="*/ 4637645 h 4687061"/>
                  <a:gd name="connsiteX0" fmla="*/ 0 w 6778159"/>
                  <a:gd name="connsiteY0" fmla="*/ 4667203 h 4716619"/>
                  <a:gd name="connsiteX1" fmla="*/ 5596971 w 6778159"/>
                  <a:gd name="connsiteY1" fmla="*/ 29558 h 4716619"/>
                  <a:gd name="connsiteX2" fmla="*/ 6778159 w 6778159"/>
                  <a:gd name="connsiteY2" fmla="*/ 0 h 4716619"/>
                  <a:gd name="connsiteX3" fmla="*/ 3434846 w 6778159"/>
                  <a:gd name="connsiteY3" fmla="*/ 4716619 h 4716619"/>
                  <a:gd name="connsiteX4" fmla="*/ 0 w 6778159"/>
                  <a:gd name="connsiteY4" fmla="*/ 4667203 h 4716619"/>
                  <a:gd name="connsiteX0" fmla="*/ 0 w 6843984"/>
                  <a:gd name="connsiteY0" fmla="*/ 4667203 h 4716619"/>
                  <a:gd name="connsiteX1" fmla="*/ 5596971 w 6843984"/>
                  <a:gd name="connsiteY1" fmla="*/ 29558 h 4716619"/>
                  <a:gd name="connsiteX2" fmla="*/ 6843984 w 6843984"/>
                  <a:gd name="connsiteY2" fmla="*/ 0 h 4716619"/>
                  <a:gd name="connsiteX3" fmla="*/ 3434846 w 6843984"/>
                  <a:gd name="connsiteY3" fmla="*/ 4716619 h 4716619"/>
                  <a:gd name="connsiteX4" fmla="*/ 0 w 6843984"/>
                  <a:gd name="connsiteY4" fmla="*/ 4667203 h 4716619"/>
                  <a:gd name="connsiteX0" fmla="*/ 0 w 6876896"/>
                  <a:gd name="connsiteY0" fmla="*/ 4657274 h 4706690"/>
                  <a:gd name="connsiteX1" fmla="*/ 5596971 w 6876896"/>
                  <a:gd name="connsiteY1" fmla="*/ 19629 h 4706690"/>
                  <a:gd name="connsiteX2" fmla="*/ 6876896 w 6876896"/>
                  <a:gd name="connsiteY2" fmla="*/ 0 h 4706690"/>
                  <a:gd name="connsiteX3" fmla="*/ 3434846 w 6876896"/>
                  <a:gd name="connsiteY3" fmla="*/ 4706690 h 4706690"/>
                  <a:gd name="connsiteX4" fmla="*/ 0 w 6876896"/>
                  <a:gd name="connsiteY4" fmla="*/ 4657274 h 4706690"/>
                  <a:gd name="connsiteX0" fmla="*/ 0 w 6876896"/>
                  <a:gd name="connsiteY0" fmla="*/ 4657274 h 4676902"/>
                  <a:gd name="connsiteX1" fmla="*/ 5596971 w 6876896"/>
                  <a:gd name="connsiteY1" fmla="*/ 19629 h 4676902"/>
                  <a:gd name="connsiteX2" fmla="*/ 6876896 w 6876896"/>
                  <a:gd name="connsiteY2" fmla="*/ 0 h 4676902"/>
                  <a:gd name="connsiteX3" fmla="*/ 3566496 w 6876896"/>
                  <a:gd name="connsiteY3" fmla="*/ 4676902 h 4676902"/>
                  <a:gd name="connsiteX4" fmla="*/ 0 w 6876896"/>
                  <a:gd name="connsiteY4" fmla="*/ 4657274 h 4676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76896" h="4676902">
                    <a:moveTo>
                      <a:pt x="0" y="4657274"/>
                    </a:moveTo>
                    <a:lnTo>
                      <a:pt x="5596971" y="19629"/>
                    </a:lnTo>
                    <a:lnTo>
                      <a:pt x="6876896" y="0"/>
                    </a:lnTo>
                    <a:lnTo>
                      <a:pt x="3566496" y="4676902"/>
                    </a:lnTo>
                    <a:lnTo>
                      <a:pt x="0" y="46572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softEdge rad="1270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7B2F5D6-F071-4039-915A-5660588CDB6F}"/>
                  </a:ext>
                </a:extLst>
              </p:cNvPr>
              <p:cNvSpPr/>
              <p:nvPr/>
            </p:nvSpPr>
            <p:spPr bwMode="auto">
              <a:xfrm rot="10800000" flipH="1" flipV="1">
                <a:off x="0" y="1360170"/>
                <a:ext cx="6762750" cy="5276850"/>
              </a:xfrm>
              <a:custGeom>
                <a:avLst/>
                <a:gdLst>
                  <a:gd name="connsiteX0" fmla="*/ 0 w 4057710"/>
                  <a:gd name="connsiteY0" fmla="*/ 4627255 h 4627255"/>
                  <a:gd name="connsiteX1" fmla="*/ 3431078 w 4057710"/>
                  <a:gd name="connsiteY1" fmla="*/ 0 h 4627255"/>
                  <a:gd name="connsiteX2" fmla="*/ 4057710 w 4057710"/>
                  <a:gd name="connsiteY2" fmla="*/ 0 h 4627255"/>
                  <a:gd name="connsiteX3" fmla="*/ 626632 w 4057710"/>
                  <a:gd name="connsiteY3" fmla="*/ 4627255 h 4627255"/>
                  <a:gd name="connsiteX4" fmla="*/ 0 w 4057710"/>
                  <a:gd name="connsiteY4" fmla="*/ 4627255 h 4627255"/>
                  <a:gd name="connsiteX0" fmla="*/ 0 w 6811070"/>
                  <a:gd name="connsiteY0" fmla="*/ 4637415 h 4637415"/>
                  <a:gd name="connsiteX1" fmla="*/ 6184438 w 6811070"/>
                  <a:gd name="connsiteY1" fmla="*/ 0 h 4637415"/>
                  <a:gd name="connsiteX2" fmla="*/ 6811070 w 6811070"/>
                  <a:gd name="connsiteY2" fmla="*/ 0 h 4637415"/>
                  <a:gd name="connsiteX3" fmla="*/ 3379992 w 6811070"/>
                  <a:gd name="connsiteY3" fmla="*/ 4627255 h 4637415"/>
                  <a:gd name="connsiteX4" fmla="*/ 0 w 6811070"/>
                  <a:gd name="connsiteY4" fmla="*/ 4637415 h 4637415"/>
                  <a:gd name="connsiteX0" fmla="*/ 53802 w 6864872"/>
                  <a:gd name="connsiteY0" fmla="*/ 4637415 h 4637415"/>
                  <a:gd name="connsiteX1" fmla="*/ 0 w 6864872"/>
                  <a:gd name="connsiteY1" fmla="*/ 20320 h 4637415"/>
                  <a:gd name="connsiteX2" fmla="*/ 6864872 w 6864872"/>
                  <a:gd name="connsiteY2" fmla="*/ 0 h 4637415"/>
                  <a:gd name="connsiteX3" fmla="*/ 3433794 w 6864872"/>
                  <a:gd name="connsiteY3" fmla="*/ 4627255 h 4637415"/>
                  <a:gd name="connsiteX4" fmla="*/ 53802 w 6864872"/>
                  <a:gd name="connsiteY4" fmla="*/ 4637415 h 4637415"/>
                  <a:gd name="connsiteX0" fmla="*/ 63962 w 6875032"/>
                  <a:gd name="connsiteY0" fmla="*/ 4647575 h 4647575"/>
                  <a:gd name="connsiteX1" fmla="*/ 0 w 6875032"/>
                  <a:gd name="connsiteY1" fmla="*/ 0 h 4647575"/>
                  <a:gd name="connsiteX2" fmla="*/ 6875032 w 6875032"/>
                  <a:gd name="connsiteY2" fmla="*/ 10160 h 4647575"/>
                  <a:gd name="connsiteX3" fmla="*/ 3443954 w 6875032"/>
                  <a:gd name="connsiteY3" fmla="*/ 4637415 h 4647575"/>
                  <a:gd name="connsiteX4" fmla="*/ 63962 w 6875032"/>
                  <a:gd name="connsiteY4" fmla="*/ 4647575 h 4647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875032" h="4647575">
                    <a:moveTo>
                      <a:pt x="63962" y="4647575"/>
                    </a:moveTo>
                    <a:lnTo>
                      <a:pt x="0" y="0"/>
                    </a:lnTo>
                    <a:lnTo>
                      <a:pt x="6875032" y="10160"/>
                    </a:lnTo>
                    <a:lnTo>
                      <a:pt x="3443954" y="4637415"/>
                    </a:lnTo>
                    <a:lnTo>
                      <a:pt x="63962" y="4647575"/>
                    </a:lnTo>
                    <a:close/>
                  </a:path>
                </a:pathLst>
              </a:custGeom>
              <a:ln/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18031377-CA2E-49D4-A245-40E24828CE00}"/>
                  </a:ext>
                </a:extLst>
              </p:cNvPr>
              <p:cNvCxnSpPr/>
              <p:nvPr/>
            </p:nvCxnSpPr>
            <p:spPr>
              <a:xfrm>
                <a:off x="447675" y="1325563"/>
                <a:ext cx="8321675" cy="0"/>
              </a:xfrm>
              <a:prstGeom prst="line">
                <a:avLst/>
              </a:prstGeom>
              <a:ln w="9525">
                <a:solidFill>
                  <a:schemeClr val="tx1"/>
                </a:solidFill>
                <a:prstDash val="sysDot"/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of Good Repair Projects Status – Bridge Strengthen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6B7AAF-CC55-428B-ACA0-D9B9BE90D0C7}"/>
              </a:ext>
            </a:extLst>
          </p:cNvPr>
          <p:cNvSpPr/>
          <p:nvPr/>
        </p:nvSpPr>
        <p:spPr>
          <a:xfrm>
            <a:off x="459259" y="1569985"/>
            <a:ext cx="4075046" cy="138837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  <a:latin typeface="Verdana"/>
                <a:cs typeface="Arial"/>
              </a:rPr>
              <a:t>Status</a:t>
            </a:r>
          </a:p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  <a:latin typeface="Verdana"/>
                <a:cs typeface="Arial"/>
              </a:rPr>
              <a:t>Bridge Repairs 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RL Substantial Completion – 11/01/18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  <a:latin typeface="Verdana"/>
                <a:cs typeface="Arial"/>
              </a:rPr>
              <a:t>OL Substantial Completion – 11/30/18</a:t>
            </a:r>
          </a:p>
          <a:p>
            <a:pPr lvl="0">
              <a:defRPr/>
            </a:pPr>
            <a:r>
              <a:rPr lang="en-US" sz="1300" b="1" u="sng" dirty="0">
                <a:solidFill>
                  <a:srgbClr val="000000"/>
                </a:solidFill>
                <a:latin typeface="Verdana"/>
                <a:cs typeface="Arial"/>
              </a:rPr>
              <a:t>Long Fellow Approach – Interim Repairs</a:t>
            </a:r>
          </a:p>
          <a:p>
            <a:pPr lvl="0">
              <a:defRPr/>
            </a:pPr>
            <a:r>
              <a:rPr lang="en-US" sz="1300" dirty="0">
                <a:solidFill>
                  <a:srgbClr val="000000"/>
                </a:solidFill>
              </a:rPr>
              <a:t>Substantial Completion – 12/31/18</a:t>
            </a:r>
            <a:endParaRPr lang="en-US" sz="1300" b="1" u="sng" dirty="0">
              <a:solidFill>
                <a:srgbClr val="000000"/>
              </a:solidFill>
              <a:latin typeface="Verdana"/>
              <a:cs typeface="Arial"/>
            </a:endParaRPr>
          </a:p>
          <a:p>
            <a:pPr lvl="0">
              <a:defRPr/>
            </a:pPr>
            <a:r>
              <a:rPr kumimoji="0" lang="en-US" sz="13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</a:t>
            </a:r>
          </a:p>
          <a:p>
            <a:pPr lvl="0">
              <a:defRPr/>
            </a:pPr>
            <a:endParaRPr kumimoji="0" lang="en-US" sz="13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Verdana"/>
              <a:ea typeface="+mn-ea"/>
              <a:cs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E801618-3B3F-40BA-9721-3131468EE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348808"/>
              </p:ext>
            </p:extLst>
          </p:nvPr>
        </p:nvGraphicFramePr>
        <p:xfrm>
          <a:off x="462685" y="3115050"/>
          <a:ext cx="4071620" cy="1988820"/>
        </p:xfrm>
        <a:graphic>
          <a:graphicData uri="http://schemas.openxmlformats.org/drawingml/2006/table">
            <a:tbl>
              <a:tblPr/>
              <a:tblGrid>
                <a:gridCol w="4071620">
                  <a:extLst>
                    <a:ext uri="{9D8B030D-6E8A-4147-A177-3AD203B41FA5}">
                      <a16:colId xmlns:a16="http://schemas.microsoft.com/office/drawing/2014/main" val="39138999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d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90733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ridge Repair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7893124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ranite Spur-B-21-069 (A23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779010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nley St.-B-16-136 (A38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271170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ields Corner Busway-B-16-418 (A3N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8654624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Victory Rd -B-16-134 (A36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241169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eneva Ave-B-16-142 (A3D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000091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36576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Long Fellow Approach - Interim Repair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549680"/>
                  </a:ext>
                </a:extLst>
              </a:tr>
              <a:tr h="69056">
                <a:tc>
                  <a:txBody>
                    <a:bodyPr/>
                    <a:lstStyle/>
                    <a:p>
                      <a:pPr marL="365760" lvl="0" indent="-285750" algn="l" defTabSz="914400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827488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404BC7E-5752-426A-9257-B4ED31044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446926"/>
              </p:ext>
            </p:extLst>
          </p:nvPr>
        </p:nvGraphicFramePr>
        <p:xfrm>
          <a:off x="462685" y="5304054"/>
          <a:ext cx="4071620" cy="883920"/>
        </p:xfrm>
        <a:graphic>
          <a:graphicData uri="http://schemas.openxmlformats.org/drawingml/2006/table">
            <a:tbl>
              <a:tblPr/>
              <a:tblGrid>
                <a:gridCol w="4071620">
                  <a:extLst>
                    <a:ext uri="{9D8B030D-6E8A-4147-A177-3AD203B41FA5}">
                      <a16:colId xmlns:a16="http://schemas.microsoft.com/office/drawing/2014/main" val="15077465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ange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1710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ridge Repair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440012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rles Street-M-01-003 (85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301076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 marL="285750" indent="-2857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ams Street-M-01-002 (85J)</a:t>
                      </a:r>
                    </a:p>
                  </a:txBody>
                  <a:tcPr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11388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4349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3521F3F-B17C-488B-A0BB-06B65679852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2685" y="1436068"/>
            <a:ext cx="8348472" cy="479328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ccompanied vehicle procurement program on foam block clearance test to indicate potential clearance interfaces and collect additional data as need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ordinated arrival of 4 Pilot Cars delivery at the end of  Augus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Update of vehicle storage models to analyze storage impacts due to latest contractor schedu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Vehicle/Infrastructure scope coordination (ATO, reinforcement of pits, etc.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3D92A1-727C-4CCF-AC0E-BC9F36519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Procurement &amp; Improvement Program Collaboration</a:t>
            </a:r>
          </a:p>
        </p:txBody>
      </p:sp>
    </p:spTree>
    <p:extLst>
      <p:ext uri="{BB962C8B-B14F-4D97-AF65-F5344CB8AC3E}">
        <p14:creationId xmlns:p14="http://schemas.microsoft.com/office/powerpoint/2010/main" val="2921354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9900" y="1385807"/>
            <a:ext cx="8348663" cy="4689475"/>
          </a:xfrm>
        </p:spPr>
        <p:txBody>
          <a:bodyPr anchor="t"/>
          <a:lstStyle/>
          <a:p>
            <a:pPr>
              <a:lnSpc>
                <a:spcPts val="3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dirty="0"/>
              <a:t>The following summary provides an update to the FMCB on the progress </a:t>
            </a:r>
            <a:r>
              <a:rPr lang="en-US" sz="1600" dirty="0">
                <a:solidFill>
                  <a:schemeClr val="tx1"/>
                </a:solidFill>
              </a:rPr>
              <a:t>of the $1.98 billion </a:t>
            </a:r>
            <a:r>
              <a:rPr lang="en-US" sz="1600" dirty="0"/>
              <a:t>Red Line/Orange Line Improvement Program; which includes new Vehicle Procurement, Infrastructure Improvements, State of Good Repair Improvements and Signal Upgrades. </a:t>
            </a:r>
            <a:endParaRPr lang="en-US" sz="400" dirty="0"/>
          </a:p>
          <a:p>
            <a:pPr>
              <a:lnSpc>
                <a:spcPts val="3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dirty="0">
                <a:solidFill>
                  <a:schemeClr val="tx1"/>
                </a:solidFill>
                <a:ea typeface="Verdana"/>
              </a:rPr>
              <a:t>This program supports the MBTA’s goal to improve the level of service on the Red Line to 3 minute headways and the Orange Line to 4.5 minute headways. This would increase capacity by 50% on the Red Line and 40% on the Orange Line from current rates.</a:t>
            </a:r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48055" y="1325880"/>
            <a:ext cx="8321675" cy="0"/>
          </a:xfrm>
          <a:custGeom>
            <a:avLst/>
            <a:gdLst/>
            <a:ahLst/>
            <a:cxnLst/>
            <a:rect l="l" t="t" r="r" b="b"/>
            <a:pathLst>
              <a:path w="8321675">
                <a:moveTo>
                  <a:pt x="0" y="0"/>
                </a:moveTo>
                <a:lnTo>
                  <a:pt x="8321675" y="0"/>
                </a:lnTo>
              </a:path>
            </a:pathLst>
          </a:custGeom>
          <a:ln w="9144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48055" y="6280403"/>
            <a:ext cx="8321675" cy="0"/>
          </a:xfrm>
          <a:custGeom>
            <a:avLst/>
            <a:gdLst/>
            <a:ahLst/>
            <a:cxnLst/>
            <a:rect l="l" t="t" r="r" b="b"/>
            <a:pathLst>
              <a:path w="8321675">
                <a:moveTo>
                  <a:pt x="0" y="0"/>
                </a:moveTo>
                <a:lnTo>
                  <a:pt x="8321675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139683" y="222504"/>
            <a:ext cx="710183" cy="7117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48055" y="720851"/>
            <a:ext cx="7499350" cy="0"/>
          </a:xfrm>
          <a:custGeom>
            <a:avLst/>
            <a:gdLst/>
            <a:ahLst/>
            <a:cxnLst/>
            <a:rect l="l" t="t" r="r" b="b"/>
            <a:pathLst>
              <a:path w="7499350">
                <a:moveTo>
                  <a:pt x="0" y="0"/>
                </a:moveTo>
                <a:lnTo>
                  <a:pt x="749935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41426" y="1001014"/>
            <a:ext cx="4351020" cy="2590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00259E"/>
                </a:solidFill>
                <a:latin typeface="Arial"/>
                <a:cs typeface="Arial"/>
              </a:rPr>
              <a:t>Red Line/Orange Line </a:t>
            </a:r>
            <a:r>
              <a:rPr sz="1600" b="1" spc="-10" dirty="0">
                <a:solidFill>
                  <a:srgbClr val="00259E"/>
                </a:solidFill>
                <a:latin typeface="Arial"/>
                <a:cs typeface="Arial"/>
              </a:rPr>
              <a:t>Improvement</a:t>
            </a:r>
            <a:r>
              <a:rPr sz="1600" b="1" spc="110" dirty="0">
                <a:solidFill>
                  <a:srgbClr val="00259E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00259E"/>
                </a:solidFill>
                <a:latin typeface="Arial"/>
                <a:cs typeface="Arial"/>
              </a:rPr>
              <a:t>Program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599432" y="1475232"/>
            <a:ext cx="2715767" cy="86410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638294" y="1514094"/>
            <a:ext cx="2583180" cy="731520"/>
          </a:xfrm>
          <a:custGeom>
            <a:avLst/>
            <a:gdLst/>
            <a:ahLst/>
            <a:cxnLst/>
            <a:rect l="l" t="t" r="r" b="b"/>
            <a:pathLst>
              <a:path w="2583179" h="731519">
                <a:moveTo>
                  <a:pt x="0" y="731520"/>
                </a:moveTo>
                <a:lnTo>
                  <a:pt x="2583179" y="731520"/>
                </a:lnTo>
                <a:lnTo>
                  <a:pt x="2583179" y="0"/>
                </a:lnTo>
                <a:lnTo>
                  <a:pt x="0" y="0"/>
                </a:lnTo>
                <a:lnTo>
                  <a:pt x="0" y="73152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638294" y="1514094"/>
            <a:ext cx="2583180" cy="731520"/>
          </a:xfrm>
          <a:prstGeom prst="rect">
            <a:avLst/>
          </a:prstGeom>
          <a:solidFill>
            <a:srgbClr val="F68E00"/>
          </a:solidFill>
        </p:spPr>
        <p:txBody>
          <a:bodyPr vert="horz" wrap="square" lIns="0" tIns="125095" rIns="0" bIns="0" rtlCol="0">
            <a:spAutoFit/>
          </a:bodyPr>
          <a:lstStyle/>
          <a:p>
            <a:pPr marL="59690">
              <a:lnSpc>
                <a:spcPct val="100000"/>
              </a:lnSpc>
              <a:spcBef>
                <a:spcPts val="985"/>
              </a:spcBef>
            </a:pPr>
            <a:r>
              <a:rPr sz="3200" spc="-5" dirty="0">
                <a:solidFill>
                  <a:srgbClr val="FFFFFF"/>
                </a:solidFill>
                <a:latin typeface="Verdana"/>
                <a:cs typeface="Verdana"/>
              </a:rPr>
              <a:t>Orange</a:t>
            </a:r>
            <a:r>
              <a:rPr sz="3200" spc="-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200" dirty="0">
                <a:solidFill>
                  <a:srgbClr val="FFFFFF"/>
                </a:solidFill>
                <a:latin typeface="Verdana"/>
                <a:cs typeface="Verdana"/>
              </a:rPr>
              <a:t>Line</a:t>
            </a:r>
            <a:endParaRPr sz="3200">
              <a:latin typeface="Verdana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171700" y="1475232"/>
            <a:ext cx="2400300" cy="8595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210561" y="1514094"/>
            <a:ext cx="2268220" cy="727075"/>
          </a:xfrm>
          <a:custGeom>
            <a:avLst/>
            <a:gdLst/>
            <a:ahLst/>
            <a:cxnLst/>
            <a:rect l="l" t="t" r="r" b="b"/>
            <a:pathLst>
              <a:path w="2268220" h="727075">
                <a:moveTo>
                  <a:pt x="0" y="726948"/>
                </a:moveTo>
                <a:lnTo>
                  <a:pt x="2267712" y="726948"/>
                </a:lnTo>
                <a:lnTo>
                  <a:pt x="2267712" y="0"/>
                </a:lnTo>
                <a:lnTo>
                  <a:pt x="0" y="0"/>
                </a:lnTo>
                <a:lnTo>
                  <a:pt x="0" y="726948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210561" y="1514094"/>
            <a:ext cx="2268220" cy="727075"/>
          </a:xfrm>
          <a:prstGeom prst="rect">
            <a:avLst/>
          </a:prstGeom>
          <a:solidFill>
            <a:srgbClr val="C00000"/>
          </a:solidFill>
        </p:spPr>
        <p:txBody>
          <a:bodyPr vert="horz" wrap="square" lIns="0" tIns="137160" rIns="0" bIns="0" rtlCol="0">
            <a:spAutoFit/>
          </a:bodyPr>
          <a:lstStyle/>
          <a:p>
            <a:pPr marL="188595">
              <a:lnSpc>
                <a:spcPct val="100000"/>
              </a:lnSpc>
              <a:spcBef>
                <a:spcPts val="1080"/>
              </a:spcBef>
            </a:pPr>
            <a:r>
              <a:rPr sz="3200" dirty="0">
                <a:solidFill>
                  <a:srgbClr val="FFFFFF"/>
                </a:solidFill>
                <a:latin typeface="Verdana"/>
                <a:cs typeface="Verdana"/>
              </a:rPr>
              <a:t>Red</a:t>
            </a:r>
            <a:r>
              <a:rPr sz="3200" spc="-8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3200" dirty="0">
                <a:solidFill>
                  <a:srgbClr val="FFFFFF"/>
                </a:solidFill>
                <a:latin typeface="Verdana"/>
                <a:cs typeface="Verdana"/>
              </a:rPr>
              <a:t>Line</a:t>
            </a:r>
            <a:endParaRPr sz="3200">
              <a:latin typeface="Verdana"/>
              <a:cs typeface="Verdan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43761" y="2873501"/>
            <a:ext cx="7105015" cy="684530"/>
          </a:xfrm>
          <a:custGeom>
            <a:avLst/>
            <a:gdLst/>
            <a:ahLst/>
            <a:cxnLst/>
            <a:rect l="l" t="t" r="r" b="b"/>
            <a:pathLst>
              <a:path w="7105015" h="684529">
                <a:moveTo>
                  <a:pt x="6990842" y="0"/>
                </a:moveTo>
                <a:lnTo>
                  <a:pt x="114046" y="0"/>
                </a:lnTo>
                <a:lnTo>
                  <a:pt x="69656" y="8961"/>
                </a:lnTo>
                <a:lnTo>
                  <a:pt x="33405" y="33401"/>
                </a:lnTo>
                <a:lnTo>
                  <a:pt x="8963" y="69651"/>
                </a:lnTo>
                <a:lnTo>
                  <a:pt x="0" y="114046"/>
                </a:lnTo>
                <a:lnTo>
                  <a:pt x="0" y="570230"/>
                </a:lnTo>
                <a:lnTo>
                  <a:pt x="8963" y="614624"/>
                </a:lnTo>
                <a:lnTo>
                  <a:pt x="33405" y="650875"/>
                </a:lnTo>
                <a:lnTo>
                  <a:pt x="69656" y="675314"/>
                </a:lnTo>
                <a:lnTo>
                  <a:pt x="114046" y="684276"/>
                </a:lnTo>
                <a:lnTo>
                  <a:pt x="6990842" y="684276"/>
                </a:lnTo>
                <a:lnTo>
                  <a:pt x="7035236" y="675314"/>
                </a:lnTo>
                <a:lnTo>
                  <a:pt x="7071486" y="650875"/>
                </a:lnTo>
                <a:lnTo>
                  <a:pt x="7095926" y="614624"/>
                </a:lnTo>
                <a:lnTo>
                  <a:pt x="7104888" y="570230"/>
                </a:lnTo>
                <a:lnTo>
                  <a:pt x="7104888" y="114046"/>
                </a:lnTo>
                <a:lnTo>
                  <a:pt x="7095926" y="69651"/>
                </a:lnTo>
                <a:lnTo>
                  <a:pt x="7071487" y="33401"/>
                </a:lnTo>
                <a:lnTo>
                  <a:pt x="7035236" y="8961"/>
                </a:lnTo>
                <a:lnTo>
                  <a:pt x="6990842" y="0"/>
                </a:lnTo>
                <a:close/>
              </a:path>
            </a:pathLst>
          </a:custGeom>
          <a:solidFill>
            <a:srgbClr val="73719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43761" y="2873501"/>
            <a:ext cx="7105015" cy="684530"/>
          </a:xfrm>
          <a:custGeom>
            <a:avLst/>
            <a:gdLst/>
            <a:ahLst/>
            <a:cxnLst/>
            <a:rect l="l" t="t" r="r" b="b"/>
            <a:pathLst>
              <a:path w="7105015" h="684529">
                <a:moveTo>
                  <a:pt x="0" y="114046"/>
                </a:moveTo>
                <a:lnTo>
                  <a:pt x="8963" y="69651"/>
                </a:lnTo>
                <a:lnTo>
                  <a:pt x="33405" y="33401"/>
                </a:lnTo>
                <a:lnTo>
                  <a:pt x="69656" y="8961"/>
                </a:lnTo>
                <a:lnTo>
                  <a:pt x="114046" y="0"/>
                </a:lnTo>
                <a:lnTo>
                  <a:pt x="6990842" y="0"/>
                </a:lnTo>
                <a:lnTo>
                  <a:pt x="7035236" y="8961"/>
                </a:lnTo>
                <a:lnTo>
                  <a:pt x="7071487" y="33401"/>
                </a:lnTo>
                <a:lnTo>
                  <a:pt x="7095926" y="69651"/>
                </a:lnTo>
                <a:lnTo>
                  <a:pt x="7104888" y="114046"/>
                </a:lnTo>
                <a:lnTo>
                  <a:pt x="7104888" y="570230"/>
                </a:lnTo>
                <a:lnTo>
                  <a:pt x="7095926" y="614624"/>
                </a:lnTo>
                <a:lnTo>
                  <a:pt x="7071486" y="650875"/>
                </a:lnTo>
                <a:lnTo>
                  <a:pt x="7035236" y="675314"/>
                </a:lnTo>
                <a:lnTo>
                  <a:pt x="6990842" y="684276"/>
                </a:lnTo>
                <a:lnTo>
                  <a:pt x="114046" y="684276"/>
                </a:lnTo>
                <a:lnTo>
                  <a:pt x="69656" y="675314"/>
                </a:lnTo>
                <a:lnTo>
                  <a:pt x="33405" y="650875"/>
                </a:lnTo>
                <a:lnTo>
                  <a:pt x="8963" y="614624"/>
                </a:lnTo>
                <a:lnTo>
                  <a:pt x="0" y="570230"/>
                </a:lnTo>
                <a:lnTo>
                  <a:pt x="0" y="114046"/>
                </a:lnTo>
                <a:close/>
              </a:path>
            </a:pathLst>
          </a:custGeom>
          <a:ln w="2590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346708" y="3066922"/>
            <a:ext cx="472503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NEW 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VEHICLE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PROCUREMENT</a:t>
            </a:r>
            <a:r>
              <a:rPr sz="1800" spc="-7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PROGRAM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133094" y="3748278"/>
            <a:ext cx="7105015" cy="646430"/>
          </a:xfrm>
          <a:custGeom>
            <a:avLst/>
            <a:gdLst/>
            <a:ahLst/>
            <a:cxnLst/>
            <a:rect l="l" t="t" r="r" b="b"/>
            <a:pathLst>
              <a:path w="7105015" h="646429">
                <a:moveTo>
                  <a:pt x="6997192" y="0"/>
                </a:moveTo>
                <a:lnTo>
                  <a:pt x="107696" y="0"/>
                </a:lnTo>
                <a:lnTo>
                  <a:pt x="65777" y="8469"/>
                </a:lnTo>
                <a:lnTo>
                  <a:pt x="31545" y="31559"/>
                </a:lnTo>
                <a:lnTo>
                  <a:pt x="8463" y="65793"/>
                </a:lnTo>
                <a:lnTo>
                  <a:pt x="0" y="107696"/>
                </a:lnTo>
                <a:lnTo>
                  <a:pt x="0" y="538480"/>
                </a:lnTo>
                <a:lnTo>
                  <a:pt x="8463" y="580382"/>
                </a:lnTo>
                <a:lnTo>
                  <a:pt x="31545" y="614616"/>
                </a:lnTo>
                <a:lnTo>
                  <a:pt x="65777" y="637706"/>
                </a:lnTo>
                <a:lnTo>
                  <a:pt x="107696" y="646176"/>
                </a:lnTo>
                <a:lnTo>
                  <a:pt x="6997192" y="646176"/>
                </a:lnTo>
                <a:lnTo>
                  <a:pt x="7039094" y="637706"/>
                </a:lnTo>
                <a:lnTo>
                  <a:pt x="7073328" y="614616"/>
                </a:lnTo>
                <a:lnTo>
                  <a:pt x="7096418" y="580382"/>
                </a:lnTo>
                <a:lnTo>
                  <a:pt x="7104888" y="538480"/>
                </a:lnTo>
                <a:lnTo>
                  <a:pt x="7104888" y="107696"/>
                </a:lnTo>
                <a:lnTo>
                  <a:pt x="7096418" y="65793"/>
                </a:lnTo>
                <a:lnTo>
                  <a:pt x="7073328" y="31559"/>
                </a:lnTo>
                <a:lnTo>
                  <a:pt x="7039094" y="8469"/>
                </a:lnTo>
                <a:lnTo>
                  <a:pt x="6997192" y="0"/>
                </a:lnTo>
                <a:close/>
              </a:path>
            </a:pathLst>
          </a:custGeom>
          <a:solidFill>
            <a:srgbClr val="20A8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133094" y="3748278"/>
            <a:ext cx="7105015" cy="646430"/>
          </a:xfrm>
          <a:custGeom>
            <a:avLst/>
            <a:gdLst/>
            <a:ahLst/>
            <a:cxnLst/>
            <a:rect l="l" t="t" r="r" b="b"/>
            <a:pathLst>
              <a:path w="7105015" h="646429">
                <a:moveTo>
                  <a:pt x="0" y="107696"/>
                </a:moveTo>
                <a:lnTo>
                  <a:pt x="8463" y="65793"/>
                </a:lnTo>
                <a:lnTo>
                  <a:pt x="31545" y="31559"/>
                </a:lnTo>
                <a:lnTo>
                  <a:pt x="65777" y="8469"/>
                </a:lnTo>
                <a:lnTo>
                  <a:pt x="107696" y="0"/>
                </a:lnTo>
                <a:lnTo>
                  <a:pt x="6997192" y="0"/>
                </a:lnTo>
                <a:lnTo>
                  <a:pt x="7039094" y="8469"/>
                </a:lnTo>
                <a:lnTo>
                  <a:pt x="7073328" y="31559"/>
                </a:lnTo>
                <a:lnTo>
                  <a:pt x="7096418" y="65793"/>
                </a:lnTo>
                <a:lnTo>
                  <a:pt x="7104888" y="107696"/>
                </a:lnTo>
                <a:lnTo>
                  <a:pt x="7104888" y="538480"/>
                </a:lnTo>
                <a:lnTo>
                  <a:pt x="7096418" y="580382"/>
                </a:lnTo>
                <a:lnTo>
                  <a:pt x="7073328" y="614616"/>
                </a:lnTo>
                <a:lnTo>
                  <a:pt x="7039094" y="637706"/>
                </a:lnTo>
                <a:lnTo>
                  <a:pt x="6997192" y="646176"/>
                </a:lnTo>
                <a:lnTo>
                  <a:pt x="107696" y="646176"/>
                </a:lnTo>
                <a:lnTo>
                  <a:pt x="65777" y="637706"/>
                </a:lnTo>
                <a:lnTo>
                  <a:pt x="31545" y="614616"/>
                </a:lnTo>
                <a:lnTo>
                  <a:pt x="8463" y="580382"/>
                </a:lnTo>
                <a:lnTo>
                  <a:pt x="0" y="538480"/>
                </a:lnTo>
                <a:lnTo>
                  <a:pt x="0" y="107696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364741" y="3926078"/>
            <a:ext cx="532574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INFRASTRUCTURE IMPROVEMENTS</a:t>
            </a:r>
            <a:r>
              <a:rPr sz="1800" spc="-45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PROGRAM</a:t>
            </a:r>
            <a:endParaRPr sz="1800" dirty="0">
              <a:latin typeface="Verdana"/>
              <a:cs typeface="Verdana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43761" y="5298185"/>
            <a:ext cx="7105015" cy="641985"/>
          </a:xfrm>
          <a:custGeom>
            <a:avLst/>
            <a:gdLst/>
            <a:ahLst/>
            <a:cxnLst/>
            <a:rect l="l" t="t" r="r" b="b"/>
            <a:pathLst>
              <a:path w="7105015" h="641985">
                <a:moveTo>
                  <a:pt x="6997954" y="0"/>
                </a:moveTo>
                <a:lnTo>
                  <a:pt x="106934" y="0"/>
                </a:lnTo>
                <a:lnTo>
                  <a:pt x="65311" y="8403"/>
                </a:lnTo>
                <a:lnTo>
                  <a:pt x="31321" y="31321"/>
                </a:lnTo>
                <a:lnTo>
                  <a:pt x="8403" y="65311"/>
                </a:lnTo>
                <a:lnTo>
                  <a:pt x="0" y="106933"/>
                </a:lnTo>
                <a:lnTo>
                  <a:pt x="0" y="534669"/>
                </a:lnTo>
                <a:lnTo>
                  <a:pt x="8403" y="576292"/>
                </a:lnTo>
                <a:lnTo>
                  <a:pt x="31321" y="610282"/>
                </a:lnTo>
                <a:lnTo>
                  <a:pt x="65311" y="633200"/>
                </a:lnTo>
                <a:lnTo>
                  <a:pt x="106934" y="641603"/>
                </a:lnTo>
                <a:lnTo>
                  <a:pt x="6997954" y="641603"/>
                </a:lnTo>
                <a:lnTo>
                  <a:pt x="7039576" y="633200"/>
                </a:lnTo>
                <a:lnTo>
                  <a:pt x="7073566" y="610282"/>
                </a:lnTo>
                <a:lnTo>
                  <a:pt x="7096484" y="576292"/>
                </a:lnTo>
                <a:lnTo>
                  <a:pt x="7104888" y="534669"/>
                </a:lnTo>
                <a:lnTo>
                  <a:pt x="7104888" y="106933"/>
                </a:lnTo>
                <a:lnTo>
                  <a:pt x="7096484" y="65311"/>
                </a:lnTo>
                <a:lnTo>
                  <a:pt x="7073566" y="31321"/>
                </a:lnTo>
                <a:lnTo>
                  <a:pt x="7039576" y="8403"/>
                </a:lnTo>
                <a:lnTo>
                  <a:pt x="6997954" y="0"/>
                </a:lnTo>
                <a:close/>
              </a:path>
            </a:pathLst>
          </a:custGeom>
          <a:solidFill>
            <a:srgbClr val="9A9AD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143761" y="5298185"/>
            <a:ext cx="7105015" cy="641985"/>
          </a:xfrm>
          <a:custGeom>
            <a:avLst/>
            <a:gdLst/>
            <a:ahLst/>
            <a:cxnLst/>
            <a:rect l="l" t="t" r="r" b="b"/>
            <a:pathLst>
              <a:path w="7105015" h="641985">
                <a:moveTo>
                  <a:pt x="0" y="106933"/>
                </a:moveTo>
                <a:lnTo>
                  <a:pt x="8403" y="65311"/>
                </a:lnTo>
                <a:lnTo>
                  <a:pt x="31321" y="31321"/>
                </a:lnTo>
                <a:lnTo>
                  <a:pt x="65311" y="8403"/>
                </a:lnTo>
                <a:lnTo>
                  <a:pt x="106934" y="0"/>
                </a:lnTo>
                <a:lnTo>
                  <a:pt x="6997954" y="0"/>
                </a:lnTo>
                <a:lnTo>
                  <a:pt x="7039576" y="8403"/>
                </a:lnTo>
                <a:lnTo>
                  <a:pt x="7073566" y="31321"/>
                </a:lnTo>
                <a:lnTo>
                  <a:pt x="7096484" y="65311"/>
                </a:lnTo>
                <a:lnTo>
                  <a:pt x="7104888" y="106933"/>
                </a:lnTo>
                <a:lnTo>
                  <a:pt x="7104888" y="534669"/>
                </a:lnTo>
                <a:lnTo>
                  <a:pt x="7096484" y="576292"/>
                </a:lnTo>
                <a:lnTo>
                  <a:pt x="7073566" y="610282"/>
                </a:lnTo>
                <a:lnTo>
                  <a:pt x="7039576" y="633200"/>
                </a:lnTo>
                <a:lnTo>
                  <a:pt x="6997954" y="641603"/>
                </a:lnTo>
                <a:lnTo>
                  <a:pt x="106934" y="641603"/>
                </a:lnTo>
                <a:lnTo>
                  <a:pt x="65311" y="633200"/>
                </a:lnTo>
                <a:lnTo>
                  <a:pt x="31321" y="610282"/>
                </a:lnTo>
                <a:lnTo>
                  <a:pt x="8403" y="576292"/>
                </a:lnTo>
                <a:lnTo>
                  <a:pt x="0" y="534669"/>
                </a:lnTo>
                <a:lnTo>
                  <a:pt x="0" y="106933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126997" y="4574285"/>
            <a:ext cx="7105015" cy="646430"/>
          </a:xfrm>
          <a:custGeom>
            <a:avLst/>
            <a:gdLst/>
            <a:ahLst/>
            <a:cxnLst/>
            <a:rect l="l" t="t" r="r" b="b"/>
            <a:pathLst>
              <a:path w="7105015" h="646429">
                <a:moveTo>
                  <a:pt x="6997192" y="0"/>
                </a:moveTo>
                <a:lnTo>
                  <a:pt x="107696" y="0"/>
                </a:lnTo>
                <a:lnTo>
                  <a:pt x="65777" y="8469"/>
                </a:lnTo>
                <a:lnTo>
                  <a:pt x="31545" y="31559"/>
                </a:lnTo>
                <a:lnTo>
                  <a:pt x="8463" y="65793"/>
                </a:lnTo>
                <a:lnTo>
                  <a:pt x="0" y="107695"/>
                </a:lnTo>
                <a:lnTo>
                  <a:pt x="0" y="538479"/>
                </a:lnTo>
                <a:lnTo>
                  <a:pt x="8463" y="580382"/>
                </a:lnTo>
                <a:lnTo>
                  <a:pt x="31545" y="614616"/>
                </a:lnTo>
                <a:lnTo>
                  <a:pt x="65777" y="637706"/>
                </a:lnTo>
                <a:lnTo>
                  <a:pt x="107696" y="646175"/>
                </a:lnTo>
                <a:lnTo>
                  <a:pt x="6997192" y="646175"/>
                </a:lnTo>
                <a:lnTo>
                  <a:pt x="7039094" y="637706"/>
                </a:lnTo>
                <a:lnTo>
                  <a:pt x="7073328" y="614616"/>
                </a:lnTo>
                <a:lnTo>
                  <a:pt x="7096418" y="580382"/>
                </a:lnTo>
                <a:lnTo>
                  <a:pt x="7104888" y="538479"/>
                </a:lnTo>
                <a:lnTo>
                  <a:pt x="7104888" y="107695"/>
                </a:lnTo>
                <a:lnTo>
                  <a:pt x="7096418" y="65793"/>
                </a:lnTo>
                <a:lnTo>
                  <a:pt x="7073328" y="31559"/>
                </a:lnTo>
                <a:lnTo>
                  <a:pt x="7039094" y="8469"/>
                </a:lnTo>
                <a:lnTo>
                  <a:pt x="6997192" y="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126997" y="4574285"/>
            <a:ext cx="7105015" cy="646430"/>
          </a:xfrm>
          <a:custGeom>
            <a:avLst/>
            <a:gdLst/>
            <a:ahLst/>
            <a:cxnLst/>
            <a:rect l="l" t="t" r="r" b="b"/>
            <a:pathLst>
              <a:path w="7105015" h="646429">
                <a:moveTo>
                  <a:pt x="0" y="107695"/>
                </a:moveTo>
                <a:lnTo>
                  <a:pt x="8463" y="65793"/>
                </a:lnTo>
                <a:lnTo>
                  <a:pt x="31545" y="31559"/>
                </a:lnTo>
                <a:lnTo>
                  <a:pt x="65777" y="8469"/>
                </a:lnTo>
                <a:lnTo>
                  <a:pt x="107696" y="0"/>
                </a:lnTo>
                <a:lnTo>
                  <a:pt x="6997192" y="0"/>
                </a:lnTo>
                <a:lnTo>
                  <a:pt x="7039094" y="8469"/>
                </a:lnTo>
                <a:lnTo>
                  <a:pt x="7073328" y="31559"/>
                </a:lnTo>
                <a:lnTo>
                  <a:pt x="7096418" y="65793"/>
                </a:lnTo>
                <a:lnTo>
                  <a:pt x="7104888" y="107695"/>
                </a:lnTo>
                <a:lnTo>
                  <a:pt x="7104888" y="538479"/>
                </a:lnTo>
                <a:lnTo>
                  <a:pt x="7096418" y="580382"/>
                </a:lnTo>
                <a:lnTo>
                  <a:pt x="7073328" y="614616"/>
                </a:lnTo>
                <a:lnTo>
                  <a:pt x="7039094" y="637706"/>
                </a:lnTo>
                <a:lnTo>
                  <a:pt x="6997192" y="646175"/>
                </a:lnTo>
                <a:lnTo>
                  <a:pt x="107696" y="646175"/>
                </a:lnTo>
                <a:lnTo>
                  <a:pt x="65777" y="637706"/>
                </a:lnTo>
                <a:lnTo>
                  <a:pt x="31545" y="614616"/>
                </a:lnTo>
                <a:lnTo>
                  <a:pt x="8463" y="580382"/>
                </a:lnTo>
                <a:lnTo>
                  <a:pt x="0" y="538479"/>
                </a:lnTo>
                <a:lnTo>
                  <a:pt x="0" y="107695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376933" y="4777104"/>
            <a:ext cx="352361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SIGNALS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UPGRADE</a:t>
            </a:r>
            <a:r>
              <a:rPr sz="1800" spc="-9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PROJECTS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736330" y="6579609"/>
            <a:ext cx="95885" cy="167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3</a:t>
            </a:r>
            <a:endParaRPr sz="100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330578" y="5505602"/>
            <a:ext cx="4110990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45" dirty="0">
                <a:solidFill>
                  <a:srgbClr val="FFFFFF"/>
                </a:solidFill>
                <a:latin typeface="Verdana"/>
                <a:cs typeface="Verdana"/>
              </a:rPr>
              <a:t>STATE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OF GOOD </a:t>
            </a:r>
            <a:r>
              <a:rPr sz="1800" spc="-15" dirty="0">
                <a:solidFill>
                  <a:srgbClr val="FFFFFF"/>
                </a:solidFill>
                <a:latin typeface="Verdana"/>
                <a:cs typeface="Verdana"/>
              </a:rPr>
              <a:t>REPAIR</a:t>
            </a:r>
            <a:r>
              <a:rPr sz="1800" spc="10" dirty="0">
                <a:solidFill>
                  <a:srgbClr val="FFFFFF"/>
                </a:solidFill>
                <a:latin typeface="Verdana"/>
                <a:cs typeface="Verdana"/>
              </a:rPr>
              <a:t> </a:t>
            </a: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PROJECTS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729476" y="3085846"/>
            <a:ext cx="1399540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Verdana"/>
                <a:cs typeface="Verdana"/>
              </a:rPr>
              <a:t>$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1,0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9.0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M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958076" y="3909059"/>
            <a:ext cx="117157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$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4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.36M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958076" y="4732273"/>
            <a:ext cx="117157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$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3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5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0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.95M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958076" y="5555284"/>
            <a:ext cx="1171575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$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5</a:t>
            </a:r>
            <a:r>
              <a:rPr sz="1800" spc="-10" dirty="0">
                <a:solidFill>
                  <a:srgbClr val="FFFFFF"/>
                </a:solidFill>
                <a:latin typeface="Verdana"/>
                <a:cs typeface="Verdana"/>
              </a:rPr>
              <a:t>1</a:t>
            </a:r>
            <a:r>
              <a:rPr sz="1800" dirty="0">
                <a:solidFill>
                  <a:srgbClr val="FFFFFF"/>
                </a:solidFill>
                <a:latin typeface="Verdana"/>
                <a:cs typeface="Verdana"/>
              </a:rPr>
              <a:t>.72M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176142" y="2443226"/>
            <a:ext cx="2270760" cy="2895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latin typeface="Verdana"/>
                <a:cs typeface="Verdana"/>
              </a:rPr>
              <a:t>Total</a:t>
            </a:r>
            <a:r>
              <a:rPr sz="1800" b="1" spc="-60" dirty="0">
                <a:latin typeface="Verdana"/>
                <a:cs typeface="Verdana"/>
              </a:rPr>
              <a:t> </a:t>
            </a:r>
            <a:r>
              <a:rPr sz="1800" b="1" spc="-5" dirty="0">
                <a:latin typeface="Verdana"/>
                <a:cs typeface="Verdana"/>
              </a:rPr>
              <a:t>$1,982.03M</a:t>
            </a:r>
            <a:endParaRPr sz="180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85476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6">
            <a:extLst>
              <a:ext uri="{FF2B5EF4-FFF2-40B4-BE49-F238E27FC236}">
                <a16:creationId xmlns:a16="http://schemas.microsoft.com/office/drawing/2014/main" id="{12163E6E-849F-493D-9759-53D53E889186}"/>
              </a:ext>
            </a:extLst>
          </p:cNvPr>
          <p:cNvGrpSpPr>
            <a:grpSpLocks/>
          </p:cNvGrpSpPr>
          <p:nvPr/>
        </p:nvGrpSpPr>
        <p:grpSpPr bwMode="auto">
          <a:xfrm>
            <a:off x="5509252" y="2646425"/>
            <a:ext cx="785101" cy="2729819"/>
            <a:chOff x="5517810" y="2745242"/>
            <a:chExt cx="1039944" cy="3165082"/>
          </a:xfrm>
        </p:grpSpPr>
        <p:cxnSp>
          <p:nvCxnSpPr>
            <p:cNvPr id="57" name="Straight Connector 7">
              <a:extLst>
                <a:ext uri="{FF2B5EF4-FFF2-40B4-BE49-F238E27FC236}">
                  <a16:creationId xmlns:a16="http://schemas.microsoft.com/office/drawing/2014/main" id="{78BE3A06-511B-413A-8582-6C9AD64B11F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351447" y="2745242"/>
              <a:ext cx="0" cy="2759257"/>
            </a:xfrm>
            <a:prstGeom prst="line">
              <a:avLst/>
            </a:prstGeom>
            <a:noFill/>
            <a:ln w="38100" algn="ctr">
              <a:solidFill>
                <a:srgbClr val="FF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E2A59C5-1CA2-424F-919C-3039835B824C}"/>
                </a:ext>
              </a:extLst>
            </p:cNvPr>
            <p:cNvSpPr/>
            <p:nvPr/>
          </p:nvSpPr>
          <p:spPr>
            <a:xfrm>
              <a:off x="5741216" y="5607001"/>
              <a:ext cx="738056" cy="3033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Pilot  </a:t>
              </a:r>
            </a:p>
          </p:txBody>
        </p:sp>
        <p:pic>
          <p:nvPicPr>
            <p:cNvPr id="61" name="Picture 1" descr="image001">
              <a:extLst>
                <a:ext uri="{FF2B5EF4-FFF2-40B4-BE49-F238E27FC236}">
                  <a16:creationId xmlns:a16="http://schemas.microsoft.com/office/drawing/2014/main" id="{2E5AC510-6168-43EE-A034-15A6E59FD0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7810" y="5329031"/>
              <a:ext cx="1039944" cy="431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" name="Group 19">
            <a:extLst>
              <a:ext uri="{FF2B5EF4-FFF2-40B4-BE49-F238E27FC236}">
                <a16:creationId xmlns:a16="http://schemas.microsoft.com/office/drawing/2014/main" id="{773FC350-9132-451D-828B-ABE31DCB82D4}"/>
              </a:ext>
            </a:extLst>
          </p:cNvPr>
          <p:cNvGrpSpPr>
            <a:grpSpLocks/>
          </p:cNvGrpSpPr>
          <p:nvPr/>
        </p:nvGrpSpPr>
        <p:grpSpPr bwMode="auto">
          <a:xfrm>
            <a:off x="4927492" y="1413115"/>
            <a:ext cx="590550" cy="1647585"/>
            <a:chOff x="5077995" y="1415310"/>
            <a:chExt cx="782637" cy="1910395"/>
          </a:xfrm>
        </p:grpSpPr>
        <p:grpSp>
          <p:nvGrpSpPr>
            <p:cNvPr id="72" name="Group 20">
              <a:extLst>
                <a:ext uri="{FF2B5EF4-FFF2-40B4-BE49-F238E27FC236}">
                  <a16:creationId xmlns:a16="http://schemas.microsoft.com/office/drawing/2014/main" id="{7906E167-814E-47AD-915F-50F37AB8599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77995" y="1664610"/>
              <a:ext cx="782637" cy="1661095"/>
              <a:chOff x="5824143" y="987125"/>
              <a:chExt cx="782637" cy="1661095"/>
            </a:xfrm>
          </p:grpSpPr>
          <p:cxnSp>
            <p:nvCxnSpPr>
              <p:cNvPr id="74" name="Straight Connector 22">
                <a:extLst>
                  <a:ext uri="{FF2B5EF4-FFF2-40B4-BE49-F238E27FC236}">
                    <a16:creationId xmlns:a16="http://schemas.microsoft.com/office/drawing/2014/main" id="{D6752004-CFEA-47D1-9B39-DEF38AF63505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6226397" y="1185180"/>
                <a:ext cx="6350" cy="1463040"/>
              </a:xfrm>
              <a:prstGeom prst="line">
                <a:avLst/>
              </a:prstGeom>
              <a:noFill/>
              <a:ln w="19050" algn="ctr">
                <a:solidFill>
                  <a:srgbClr val="F68E0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75" name="Picture 23">
                <a:extLst>
                  <a:ext uri="{FF2B5EF4-FFF2-40B4-BE49-F238E27FC236}">
                    <a16:creationId xmlns:a16="http://schemas.microsoft.com/office/drawing/2014/main" id="{02BB1C62-BA47-4B28-8315-BA618A3685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4143" y="987125"/>
                <a:ext cx="782637" cy="263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D7062FE8-0619-40BE-BF5D-A3CF289AC1C6}"/>
                </a:ext>
              </a:extLst>
            </p:cNvPr>
            <p:cNvSpPr/>
            <p:nvPr/>
          </p:nvSpPr>
          <p:spPr>
            <a:xfrm>
              <a:off x="5124635" y="1415310"/>
              <a:ext cx="639574" cy="2613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Pilot  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10B5968-7202-4433-A1A1-784A8AAFFA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8108" y="1956997"/>
            <a:ext cx="5114439" cy="293997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67FEC6D-84C9-4043-8AD0-569A82B65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ne and Orange Line Schedule by Project</a:t>
            </a:r>
          </a:p>
        </p:txBody>
      </p:sp>
      <p:grpSp>
        <p:nvGrpSpPr>
          <p:cNvPr id="142" name="Group 61">
            <a:extLst>
              <a:ext uri="{FF2B5EF4-FFF2-40B4-BE49-F238E27FC236}">
                <a16:creationId xmlns:a16="http://schemas.microsoft.com/office/drawing/2014/main" id="{21C51554-C228-48AB-A000-96E6C8074EAA}"/>
              </a:ext>
            </a:extLst>
          </p:cNvPr>
          <p:cNvGrpSpPr>
            <a:grpSpLocks/>
          </p:cNvGrpSpPr>
          <p:nvPr/>
        </p:nvGrpSpPr>
        <p:grpSpPr bwMode="auto">
          <a:xfrm>
            <a:off x="462684" y="5451555"/>
            <a:ext cx="3180515" cy="245920"/>
            <a:chOff x="5087270" y="1123950"/>
            <a:chExt cx="1374929" cy="243745"/>
          </a:xfrm>
        </p:grpSpPr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DD0FFB59-1176-4CDB-94BB-DE8A0DA3F31F}"/>
                </a:ext>
              </a:extLst>
            </p:cNvPr>
            <p:cNvSpPr/>
            <p:nvPr/>
          </p:nvSpPr>
          <p:spPr>
            <a:xfrm>
              <a:off x="5087270" y="1123950"/>
              <a:ext cx="1374928" cy="243745"/>
            </a:xfrm>
            <a:prstGeom prst="rect">
              <a:avLst/>
            </a:prstGeom>
            <a:solidFill>
              <a:srgbClr val="FFFF00"/>
            </a:solidFill>
            <a:ln w="9525" cap="flat" cmpd="sng" algn="ctr">
              <a:noFill/>
              <a:prstDash val="solid"/>
            </a:ln>
            <a:effectLst/>
          </p:spPr>
          <p:txBody>
            <a:bodyPr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b="1" kern="0" dirty="0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7EBC3700-DA37-4C32-8AB7-46902E4AD299}"/>
                </a:ext>
              </a:extLst>
            </p:cNvPr>
            <p:cNvSpPr/>
            <p:nvPr/>
          </p:nvSpPr>
          <p:spPr>
            <a:xfrm>
              <a:off x="5927395" y="1123950"/>
              <a:ext cx="534804" cy="243745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kern="0" dirty="0">
                  <a:solidFill>
                    <a:schemeClr val="tx1"/>
                  </a:solidFill>
                </a:rPr>
                <a:t>Construction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52166AB9-ED75-47D2-9F9C-BCB554CE5C9A}"/>
                </a:ext>
              </a:extLst>
            </p:cNvPr>
            <p:cNvSpPr/>
            <p:nvPr/>
          </p:nvSpPr>
          <p:spPr>
            <a:xfrm>
              <a:off x="5087271" y="1123950"/>
              <a:ext cx="377788" cy="243745"/>
            </a:xfrm>
            <a:prstGeom prst="rect">
              <a:avLst/>
            </a:prstGeom>
            <a:solidFill>
              <a:srgbClr val="00CC00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kern="0" dirty="0">
                  <a:solidFill>
                    <a:schemeClr val="tx1"/>
                  </a:solidFill>
                </a:rPr>
                <a:t>Design</a:t>
              </a:r>
            </a:p>
          </p:txBody>
        </p:sp>
      </p:grpSp>
      <p:sp>
        <p:nvSpPr>
          <p:cNvPr id="146" name="TextBox 2">
            <a:extLst>
              <a:ext uri="{FF2B5EF4-FFF2-40B4-BE49-F238E27FC236}">
                <a16:creationId xmlns:a16="http://schemas.microsoft.com/office/drawing/2014/main" id="{A88F670A-C36A-42D9-94C0-11385B744D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960" y="4924642"/>
            <a:ext cx="10636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rgbClr val="25418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chemeClr val="tx1"/>
                </a:solidFill>
              </a:rPr>
              <a:t>LEGEND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A551CD20-1405-4FEC-A95E-025FB3D6B2D2}"/>
              </a:ext>
            </a:extLst>
          </p:cNvPr>
          <p:cNvSpPr/>
          <p:nvPr/>
        </p:nvSpPr>
        <p:spPr>
          <a:xfrm>
            <a:off x="1336483" y="5450032"/>
            <a:ext cx="11897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100" kern="0" dirty="0"/>
              <a:t>Procurement  </a:t>
            </a:r>
          </a:p>
        </p:txBody>
      </p:sp>
      <p:grpSp>
        <p:nvGrpSpPr>
          <p:cNvPr id="62" name="Group 10">
            <a:extLst>
              <a:ext uri="{FF2B5EF4-FFF2-40B4-BE49-F238E27FC236}">
                <a16:creationId xmlns:a16="http://schemas.microsoft.com/office/drawing/2014/main" id="{7F60879A-B4ED-4BC1-801B-3E2DBF8169B8}"/>
              </a:ext>
            </a:extLst>
          </p:cNvPr>
          <p:cNvGrpSpPr>
            <a:grpSpLocks/>
          </p:cNvGrpSpPr>
          <p:nvPr/>
        </p:nvGrpSpPr>
        <p:grpSpPr bwMode="auto">
          <a:xfrm>
            <a:off x="6285561" y="4862767"/>
            <a:ext cx="1183708" cy="466154"/>
            <a:chOff x="6391088" y="5578853"/>
            <a:chExt cx="1567877" cy="540532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D8BB03C-65C6-40AC-943B-96A2263945EB}"/>
                </a:ext>
              </a:extLst>
            </p:cNvPr>
            <p:cNvSpPr/>
            <p:nvPr/>
          </p:nvSpPr>
          <p:spPr>
            <a:xfrm>
              <a:off x="6615327" y="5857992"/>
              <a:ext cx="1343638" cy="2613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1</a:t>
              </a:r>
              <a:r>
                <a:rPr lang="en-US" sz="1100" b="1" kern="0" baseline="3000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st</a:t>
              </a: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 Production</a:t>
              </a:r>
            </a:p>
          </p:txBody>
        </p:sp>
        <p:pic>
          <p:nvPicPr>
            <p:cNvPr id="65" name="Picture 1" descr="image001">
              <a:extLst>
                <a:ext uri="{FF2B5EF4-FFF2-40B4-BE49-F238E27FC236}">
                  <a16:creationId xmlns:a16="http://schemas.microsoft.com/office/drawing/2014/main" id="{86630E10-A521-425C-A6EB-B5EA6C4A98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1088" y="5578853"/>
              <a:ext cx="1039944" cy="431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EA3CBD2C-406F-4A94-8CDD-A051F76DF2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4170068"/>
              </p:ext>
            </p:extLst>
          </p:nvPr>
        </p:nvGraphicFramePr>
        <p:xfrm>
          <a:off x="221633" y="1977080"/>
          <a:ext cx="3542482" cy="276942"/>
        </p:xfrm>
        <a:graphic>
          <a:graphicData uri="http://schemas.openxmlformats.org/drawingml/2006/table">
            <a:tbl>
              <a:tblPr/>
              <a:tblGrid>
                <a:gridCol w="3542482">
                  <a:extLst>
                    <a:ext uri="{9D8B030D-6E8A-4147-A177-3AD203B41FA5}">
                      <a16:colId xmlns:a16="http://schemas.microsoft.com/office/drawing/2014/main" val="460624374"/>
                    </a:ext>
                  </a:extLst>
                </a:gridCol>
              </a:tblGrid>
              <a:tr h="2769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hicle Procurement Progr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067974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F45F9F8-A798-400B-8ECB-F138BB8A1A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361531"/>
              </p:ext>
            </p:extLst>
          </p:nvPr>
        </p:nvGraphicFramePr>
        <p:xfrm>
          <a:off x="221633" y="2255468"/>
          <a:ext cx="3538602" cy="476834"/>
        </p:xfrm>
        <a:graphic>
          <a:graphicData uri="http://schemas.openxmlformats.org/drawingml/2006/table">
            <a:tbl>
              <a:tblPr/>
              <a:tblGrid>
                <a:gridCol w="3538602">
                  <a:extLst>
                    <a:ext uri="{9D8B030D-6E8A-4147-A177-3AD203B41FA5}">
                      <a16:colId xmlns:a16="http://schemas.microsoft.com/office/drawing/2014/main" val="1758214005"/>
                    </a:ext>
                  </a:extLst>
                </a:gridCol>
              </a:tblGrid>
              <a:tr h="23841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OL  Vehicles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109533"/>
                  </a:ext>
                </a:extLst>
              </a:tr>
              <a:tr h="23841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RL  Vehicles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897570"/>
                  </a:ext>
                </a:extLst>
              </a:tr>
            </a:tbl>
          </a:graphicData>
        </a:graphic>
      </p:graphicFrame>
      <p:sp>
        <p:nvSpPr>
          <p:cNvPr id="93" name="Rectangle 92">
            <a:extLst>
              <a:ext uri="{FF2B5EF4-FFF2-40B4-BE49-F238E27FC236}">
                <a16:creationId xmlns:a16="http://schemas.microsoft.com/office/drawing/2014/main" id="{0C339CFA-1D12-4B1E-B01F-0622A733F3F3}"/>
              </a:ext>
            </a:extLst>
          </p:cNvPr>
          <p:cNvSpPr/>
          <p:nvPr/>
        </p:nvSpPr>
        <p:spPr bwMode="auto">
          <a:xfrm>
            <a:off x="462684" y="5151871"/>
            <a:ext cx="2243194" cy="248347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kern="0" dirty="0">
                <a:solidFill>
                  <a:schemeClr val="tx1"/>
                </a:solidFill>
              </a:rPr>
              <a:t>Manufacturing/Delivery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4ECADA98-496B-4FA6-B17D-72E771F85C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665258"/>
              </p:ext>
            </p:extLst>
          </p:nvPr>
        </p:nvGraphicFramePr>
        <p:xfrm>
          <a:off x="232223" y="2764502"/>
          <a:ext cx="3538734" cy="1329644"/>
        </p:xfrm>
        <a:graphic>
          <a:graphicData uri="http://schemas.openxmlformats.org/drawingml/2006/table">
            <a:tbl>
              <a:tblPr/>
              <a:tblGrid>
                <a:gridCol w="3538734">
                  <a:extLst>
                    <a:ext uri="{9D8B030D-6E8A-4147-A177-3AD203B41FA5}">
                      <a16:colId xmlns:a16="http://schemas.microsoft.com/office/drawing/2014/main" val="1402358826"/>
                    </a:ext>
                  </a:extLst>
                </a:gridCol>
              </a:tblGrid>
              <a:tr h="24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rastructure Program – Orange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160615"/>
                  </a:ext>
                </a:extLst>
              </a:tr>
              <a:tr h="2327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llington Yard Expansion Tracks 33-38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74870681"/>
                  </a:ext>
                </a:extLst>
              </a:tr>
              <a:tr h="24973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ange Line Test Track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1243804"/>
                  </a:ext>
                </a:extLst>
              </a:tr>
              <a:tr h="32621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llington Maintenance Facility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47679276"/>
                  </a:ext>
                </a:extLst>
              </a:tr>
              <a:tr h="27828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llington Yard Rebuild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615674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5B778D52-41BF-4773-A49E-97E51691F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898457"/>
              </p:ext>
            </p:extLst>
          </p:nvPr>
        </p:nvGraphicFramePr>
        <p:xfrm>
          <a:off x="232133" y="4122283"/>
          <a:ext cx="3535225" cy="806002"/>
        </p:xfrm>
        <a:graphic>
          <a:graphicData uri="http://schemas.openxmlformats.org/drawingml/2006/table">
            <a:tbl>
              <a:tblPr/>
              <a:tblGrid>
                <a:gridCol w="3535225">
                  <a:extLst>
                    <a:ext uri="{9D8B030D-6E8A-4147-A177-3AD203B41FA5}">
                      <a16:colId xmlns:a16="http://schemas.microsoft.com/office/drawing/2014/main" val="1593049947"/>
                    </a:ext>
                  </a:extLst>
                </a:gridCol>
              </a:tblGrid>
              <a:tr h="2601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rastructure Program – Red Lin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299162"/>
                  </a:ext>
                </a:extLst>
              </a:tr>
              <a:tr h="2601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d Line Test Track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8602310"/>
                  </a:ext>
                </a:extLst>
              </a:tr>
              <a:tr h="2856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bot Maintenance Facility &amp; Cabot Yard Improvements</a:t>
                      </a:r>
                    </a:p>
                  </a:txBody>
                  <a:tcPr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6414665"/>
                  </a:ext>
                </a:extLst>
              </a:tr>
            </a:tbl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66A3664D-33E2-481F-8EFD-BC394B166BE3}"/>
              </a:ext>
            </a:extLst>
          </p:cNvPr>
          <p:cNvSpPr/>
          <p:nvPr/>
        </p:nvSpPr>
        <p:spPr>
          <a:xfrm>
            <a:off x="7609944" y="3815030"/>
            <a:ext cx="551075" cy="192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955F923-001F-4BD5-84DD-75C6EF62DC17}"/>
              </a:ext>
            </a:extLst>
          </p:cNvPr>
          <p:cNvSpPr/>
          <p:nvPr/>
        </p:nvSpPr>
        <p:spPr>
          <a:xfrm>
            <a:off x="6229822" y="4392410"/>
            <a:ext cx="125499" cy="235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1A574BF-9CB8-4BCE-A2CB-38EAD1376E06}"/>
              </a:ext>
            </a:extLst>
          </p:cNvPr>
          <p:cNvSpPr/>
          <p:nvPr/>
        </p:nvSpPr>
        <p:spPr>
          <a:xfrm>
            <a:off x="3691981" y="1971148"/>
            <a:ext cx="2136164" cy="3152377"/>
          </a:xfrm>
          <a:prstGeom prst="rect">
            <a:avLst/>
          </a:prstGeom>
          <a:solidFill>
            <a:srgbClr val="A6A6A6">
              <a:alpha val="38039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b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rgbClr val="000000"/>
                </a:solidFill>
                <a:latin typeface="Verdana"/>
                <a:cs typeface="Arial"/>
              </a:rPr>
              <a:t>  Completed</a:t>
            </a:r>
          </a:p>
        </p:txBody>
      </p:sp>
      <p:sp>
        <p:nvSpPr>
          <p:cNvPr id="116" name="Diamond 115">
            <a:extLst>
              <a:ext uri="{FF2B5EF4-FFF2-40B4-BE49-F238E27FC236}">
                <a16:creationId xmlns:a16="http://schemas.microsoft.com/office/drawing/2014/main" id="{7ED00BC9-866A-43FC-A236-882B470C5D92}"/>
              </a:ext>
            </a:extLst>
          </p:cNvPr>
          <p:cNvSpPr/>
          <p:nvPr/>
        </p:nvSpPr>
        <p:spPr>
          <a:xfrm>
            <a:off x="481554" y="6056147"/>
            <a:ext cx="135251" cy="171422"/>
          </a:xfrm>
          <a:prstGeom prst="diamond">
            <a:avLst/>
          </a:prstGeom>
          <a:solidFill>
            <a:srgbClr val="FFFF0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100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BA02725-2AD3-4CD5-932D-CACF4B2F43D9}"/>
              </a:ext>
            </a:extLst>
          </p:cNvPr>
          <p:cNvSpPr/>
          <p:nvPr/>
        </p:nvSpPr>
        <p:spPr>
          <a:xfrm>
            <a:off x="578995" y="5783731"/>
            <a:ext cx="4848706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US" sz="1100" dirty="0"/>
              <a:t>Interim Milestone to Support Vehicle Delivery - Completed</a:t>
            </a:r>
          </a:p>
          <a:p>
            <a:endParaRPr lang="en-US" sz="200" dirty="0"/>
          </a:p>
          <a:p>
            <a:r>
              <a:rPr lang="en-US" sz="1100" dirty="0"/>
              <a:t>Interim Milestone to Support Vehicle Delivery	</a:t>
            </a:r>
          </a:p>
        </p:txBody>
      </p:sp>
      <p:sp>
        <p:nvSpPr>
          <p:cNvPr id="118" name="Diamond 117">
            <a:extLst>
              <a:ext uri="{FF2B5EF4-FFF2-40B4-BE49-F238E27FC236}">
                <a16:creationId xmlns:a16="http://schemas.microsoft.com/office/drawing/2014/main" id="{72887566-88AA-40E8-86EF-8F003442CDA7}"/>
              </a:ext>
            </a:extLst>
          </p:cNvPr>
          <p:cNvSpPr/>
          <p:nvPr/>
        </p:nvSpPr>
        <p:spPr>
          <a:xfrm>
            <a:off x="493135" y="5815931"/>
            <a:ext cx="135251" cy="171422"/>
          </a:xfrm>
          <a:prstGeom prst="diamond">
            <a:avLst/>
          </a:prstGeom>
          <a:solidFill>
            <a:srgbClr val="F154F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1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73D22A-0625-49CB-93E7-34A4CC56BC33}"/>
              </a:ext>
            </a:extLst>
          </p:cNvPr>
          <p:cNvGrpSpPr/>
          <p:nvPr/>
        </p:nvGrpSpPr>
        <p:grpSpPr>
          <a:xfrm>
            <a:off x="5245501" y="-352181"/>
            <a:ext cx="4376552" cy="5187386"/>
            <a:chOff x="5245501" y="-352181"/>
            <a:chExt cx="4376552" cy="5187386"/>
          </a:xfrm>
        </p:grpSpPr>
        <p:sp>
          <p:nvSpPr>
            <p:cNvPr id="63" name="Diamond 62">
              <a:extLst>
                <a:ext uri="{FF2B5EF4-FFF2-40B4-BE49-F238E27FC236}">
                  <a16:creationId xmlns:a16="http://schemas.microsoft.com/office/drawing/2014/main" id="{294536C4-6B15-4177-B7E8-B91684FC603C}"/>
                </a:ext>
              </a:extLst>
            </p:cNvPr>
            <p:cNvSpPr/>
            <p:nvPr/>
          </p:nvSpPr>
          <p:spPr bwMode="auto">
            <a:xfrm>
              <a:off x="5993276" y="4398426"/>
              <a:ext cx="100013" cy="152400"/>
            </a:xfrm>
            <a:prstGeom prst="diamond">
              <a:avLst/>
            </a:prstGeom>
            <a:solidFill>
              <a:srgbClr val="FFFF00"/>
            </a:solidFill>
            <a:ln w="9525" cap="flat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76" name="Diamond 75">
              <a:extLst>
                <a:ext uri="{FF2B5EF4-FFF2-40B4-BE49-F238E27FC236}">
                  <a16:creationId xmlns:a16="http://schemas.microsoft.com/office/drawing/2014/main" id="{4383712C-23F2-4A78-97D1-A7B0D99F035F}"/>
                </a:ext>
              </a:extLst>
            </p:cNvPr>
            <p:cNvSpPr/>
            <p:nvPr/>
          </p:nvSpPr>
          <p:spPr bwMode="auto">
            <a:xfrm>
              <a:off x="6063018" y="4401837"/>
              <a:ext cx="100013" cy="152400"/>
            </a:xfrm>
            <a:prstGeom prst="diamond">
              <a:avLst/>
            </a:prstGeom>
            <a:solidFill>
              <a:srgbClr val="FFFF00"/>
            </a:solidFill>
            <a:ln w="9525" cap="flat" cmpd="sng" algn="ctr">
              <a:solidFill>
                <a:srgbClr val="000000">
                  <a:shade val="50000"/>
                </a:srgbClr>
              </a:solidFill>
              <a:prstDash val="solid"/>
            </a:ln>
            <a:effectLst/>
          </p:spPr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D9BEAF4-DB48-4CE3-A2DF-B45DCB5F5E1E}"/>
                </a:ext>
              </a:extLst>
            </p:cNvPr>
            <p:cNvGrpSpPr/>
            <p:nvPr/>
          </p:nvGrpSpPr>
          <p:grpSpPr>
            <a:xfrm>
              <a:off x="5245501" y="-352181"/>
              <a:ext cx="4376552" cy="5187386"/>
              <a:chOff x="5245501" y="-352181"/>
              <a:chExt cx="4376552" cy="5187386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8240B8F-C1F0-4029-9FBF-0DAC47A3588F}"/>
                  </a:ext>
                </a:extLst>
              </p:cNvPr>
              <p:cNvGrpSpPr/>
              <p:nvPr/>
            </p:nvGrpSpPr>
            <p:grpSpPr>
              <a:xfrm>
                <a:off x="5245501" y="-352181"/>
                <a:ext cx="4376552" cy="4416791"/>
                <a:chOff x="5347101" y="557048"/>
                <a:chExt cx="4376552" cy="4416791"/>
              </a:xfrm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6409DD43-E19A-4B7A-9F8A-8C976AA05DAC}"/>
                    </a:ext>
                  </a:extLst>
                </p:cNvPr>
                <p:cNvGrpSpPr/>
                <p:nvPr/>
              </p:nvGrpSpPr>
              <p:grpSpPr>
                <a:xfrm>
                  <a:off x="5347101" y="557048"/>
                  <a:ext cx="4376552" cy="4139284"/>
                  <a:chOff x="2503911" y="3603893"/>
                  <a:chExt cx="4376552" cy="4139284"/>
                </a:xfrm>
              </p:grpSpPr>
              <p:grpSp>
                <p:nvGrpSpPr>
                  <p:cNvPr id="80" name="Group 36">
                    <a:extLst>
                      <a:ext uri="{FF2B5EF4-FFF2-40B4-BE49-F238E27FC236}">
                        <a16:creationId xmlns:a16="http://schemas.microsoft.com/office/drawing/2014/main" id="{F9275A49-5B3B-4039-869E-50F95AB63E75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2503911" y="3603893"/>
                    <a:ext cx="4376552" cy="3837062"/>
                    <a:chOff x="888886" y="5928845"/>
                    <a:chExt cx="4319187" cy="4446287"/>
                  </a:xfrm>
                </p:grpSpPr>
                <p:sp>
                  <p:nvSpPr>
                    <p:cNvPr id="89" name="Diamond 88">
                      <a:extLst>
                        <a:ext uri="{FF2B5EF4-FFF2-40B4-BE49-F238E27FC236}">
                          <a16:creationId xmlns:a16="http://schemas.microsoft.com/office/drawing/2014/main" id="{F6262DA9-E87C-4041-8A77-96BE813413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8886" y="10198535"/>
                      <a:ext cx="98701" cy="176597"/>
                    </a:xfrm>
                    <a:prstGeom prst="diamond">
                      <a:avLst/>
                    </a:prstGeom>
                    <a:solidFill>
                      <a:srgbClr val="F154F1"/>
                    </a:solidFill>
                    <a:ln w="9525" cap="flat" cmpd="sng" algn="ctr">
                      <a:solidFill>
                        <a:srgbClr val="000000">
                          <a:shade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kern="0">
                        <a:solidFill>
                          <a:srgbClr val="FFFFFF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92" name="Diamond 91">
                      <a:extLst>
                        <a:ext uri="{FF2B5EF4-FFF2-40B4-BE49-F238E27FC236}">
                          <a16:creationId xmlns:a16="http://schemas.microsoft.com/office/drawing/2014/main" id="{4A0A4A89-26C4-4743-8109-D6090F5D86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35158" y="5938045"/>
                      <a:ext cx="98702" cy="176597"/>
                    </a:xfrm>
                    <a:prstGeom prst="diamond">
                      <a:avLst/>
                    </a:prstGeom>
                    <a:solidFill>
                      <a:srgbClr val="FFFF00"/>
                    </a:solidFill>
                    <a:ln w="9525" cap="flat" cmpd="sng" algn="ctr">
                      <a:solidFill>
                        <a:srgbClr val="000000">
                          <a:shade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kern="0">
                        <a:solidFill>
                          <a:srgbClr val="FFFFFF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94" name="Diamond 93">
                      <a:extLst>
                        <a:ext uri="{FF2B5EF4-FFF2-40B4-BE49-F238E27FC236}">
                          <a16:creationId xmlns:a16="http://schemas.microsoft.com/office/drawing/2014/main" id="{50F2B72F-8842-46EE-90E3-EEE1EF47F4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31220" y="5938045"/>
                      <a:ext cx="98702" cy="176597"/>
                    </a:xfrm>
                    <a:prstGeom prst="diamond">
                      <a:avLst/>
                    </a:prstGeom>
                    <a:solidFill>
                      <a:srgbClr val="FFFF00"/>
                    </a:solidFill>
                    <a:ln w="9525" cap="flat" cmpd="sng" algn="ctr">
                      <a:solidFill>
                        <a:srgbClr val="000000">
                          <a:shade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kern="0">
                        <a:solidFill>
                          <a:srgbClr val="FFFFFF"/>
                        </a:solidFill>
                        <a:latin typeface="Calibri"/>
                      </a:endParaRPr>
                    </a:p>
                  </p:txBody>
                </p:sp>
                <p:sp>
                  <p:nvSpPr>
                    <p:cNvPr id="95" name="Diamond 94">
                      <a:extLst>
                        <a:ext uri="{FF2B5EF4-FFF2-40B4-BE49-F238E27FC236}">
                          <a16:creationId xmlns:a16="http://schemas.microsoft.com/office/drawing/2014/main" id="{DFD476AD-4892-4A8E-BEB0-C5D50F53FE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09371" y="5928845"/>
                      <a:ext cx="98702" cy="174758"/>
                    </a:xfrm>
                    <a:prstGeom prst="diamond">
                      <a:avLst/>
                    </a:prstGeom>
                    <a:solidFill>
                      <a:srgbClr val="FFFF00"/>
                    </a:solidFill>
                    <a:ln w="9525" cap="flat" cmpd="sng" algn="ctr">
                      <a:solidFill>
                        <a:srgbClr val="000000">
                          <a:shade val="50000"/>
                        </a:srgbClr>
                      </a:solidFill>
                      <a:prstDash val="solid"/>
                    </a:ln>
                    <a:effectLst/>
                  </p:spPr>
                  <p:txBody>
                    <a:bodyPr/>
                    <a:lstStyle>
                      <a:lvl1pPr marL="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indent="0">
                        <a:defRPr sz="11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eaLnBrk="1" fontAlgn="auto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en-US" kern="0">
                        <a:solidFill>
                          <a:srgbClr val="FFFFFF"/>
                        </a:solidFill>
                        <a:latin typeface="Calibri"/>
                      </a:endParaRPr>
                    </a:p>
                  </p:txBody>
                </p:sp>
              </p:grpSp>
              <p:sp>
                <p:nvSpPr>
                  <p:cNvPr id="98" name="Diamond 97">
                    <a:extLst>
                      <a:ext uri="{FF2B5EF4-FFF2-40B4-BE49-F238E27FC236}">
                        <a16:creationId xmlns:a16="http://schemas.microsoft.com/office/drawing/2014/main" id="{F4BAB882-421B-4EBE-9491-B60A35362689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169733" y="7576129"/>
                    <a:ext cx="100013" cy="152400"/>
                  </a:xfrm>
                  <a:prstGeom prst="diamond">
                    <a:avLst/>
                  </a:prstGeom>
                  <a:solidFill>
                    <a:srgbClr val="FFFF00"/>
                  </a:solidFill>
                  <a:ln w="9525" cap="flat" cmpd="sng" algn="ctr">
                    <a:solidFill>
                      <a:srgbClr val="000000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kern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99" name="Diamond 98">
                    <a:extLst>
                      <a:ext uri="{FF2B5EF4-FFF2-40B4-BE49-F238E27FC236}">
                        <a16:creationId xmlns:a16="http://schemas.microsoft.com/office/drawing/2014/main" id="{5C68AC4C-CBE4-488C-9378-5865782F21C5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705668" y="7576878"/>
                    <a:ext cx="100013" cy="152400"/>
                  </a:xfrm>
                  <a:prstGeom prst="diamond">
                    <a:avLst/>
                  </a:prstGeom>
                  <a:solidFill>
                    <a:srgbClr val="F154F1"/>
                  </a:solidFill>
                  <a:ln w="9525" cap="flat" cmpd="sng" algn="ctr">
                    <a:solidFill>
                      <a:srgbClr val="000000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kern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100" name="Diamond 99">
                    <a:extLst>
                      <a:ext uri="{FF2B5EF4-FFF2-40B4-BE49-F238E27FC236}">
                        <a16:creationId xmlns:a16="http://schemas.microsoft.com/office/drawing/2014/main" id="{396A387D-ED46-4BB2-8298-BD75BAE22B12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3769286" y="7592364"/>
                    <a:ext cx="100013" cy="150813"/>
                  </a:xfrm>
                  <a:prstGeom prst="diamond">
                    <a:avLst/>
                  </a:prstGeom>
                  <a:solidFill>
                    <a:srgbClr val="FFFF00"/>
                  </a:solidFill>
                  <a:ln w="9525" cap="flat" cmpd="sng" algn="ctr">
                    <a:solidFill>
                      <a:srgbClr val="000000">
                        <a:shade val="50000"/>
                      </a:srgbClr>
                    </a:solidFill>
                    <a:prstDash val="solid"/>
                  </a:ln>
                  <a:effectLst/>
                </p:spPr>
                <p:txBody>
                  <a:bodyPr/>
                  <a:lstStyle>
                    <a:lvl1pPr marL="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kern="0">
                      <a:solidFill>
                        <a:srgbClr val="FFFFFF"/>
                      </a:solidFill>
                      <a:latin typeface="Calibri"/>
                    </a:endParaRPr>
                  </a:p>
                </p:txBody>
              </p:sp>
            </p:grpSp>
            <p:sp>
              <p:nvSpPr>
                <p:cNvPr id="110" name="Diamond 109">
                  <a:extLst>
                    <a:ext uri="{FF2B5EF4-FFF2-40B4-BE49-F238E27FC236}">
                      <a16:creationId xmlns:a16="http://schemas.microsoft.com/office/drawing/2014/main" id="{800469A1-8FA6-452A-A19A-2BEA966FB85D}"/>
                    </a:ext>
                  </a:extLst>
                </p:cNvPr>
                <p:cNvSpPr/>
                <p:nvPr/>
              </p:nvSpPr>
              <p:spPr bwMode="auto">
                <a:xfrm>
                  <a:off x="5909868" y="3955784"/>
                  <a:ext cx="100013" cy="152400"/>
                </a:xfrm>
                <a:prstGeom prst="diamond">
                  <a:avLst/>
                </a:prstGeom>
                <a:solidFill>
                  <a:srgbClr val="FFFF00"/>
                </a:solidFill>
                <a:ln w="9525" cap="flat" cmpd="sng" algn="ctr">
                  <a:solidFill>
                    <a:srgbClr val="000000">
                      <a:shade val="50000"/>
                    </a:srgbClr>
                  </a:solidFill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2" name="Diamond 111">
                  <a:extLst>
                    <a:ext uri="{FF2B5EF4-FFF2-40B4-BE49-F238E27FC236}">
                      <a16:creationId xmlns:a16="http://schemas.microsoft.com/office/drawing/2014/main" id="{C502289B-643A-4293-A486-0269FA18C5F0}"/>
                    </a:ext>
                  </a:extLst>
                </p:cNvPr>
                <p:cNvSpPr/>
                <p:nvPr/>
              </p:nvSpPr>
              <p:spPr bwMode="auto">
                <a:xfrm>
                  <a:off x="7480654" y="4806663"/>
                  <a:ext cx="100013" cy="152400"/>
                </a:xfrm>
                <a:prstGeom prst="diamond">
                  <a:avLst/>
                </a:prstGeom>
                <a:solidFill>
                  <a:srgbClr val="FFFF00"/>
                </a:solidFill>
                <a:ln w="9525" cap="flat" cmpd="sng" algn="ctr">
                  <a:solidFill>
                    <a:srgbClr val="000000">
                      <a:shade val="50000"/>
                    </a:srgbClr>
                  </a:solidFill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3" name="Diamond 112">
                  <a:extLst>
                    <a:ext uri="{FF2B5EF4-FFF2-40B4-BE49-F238E27FC236}">
                      <a16:creationId xmlns:a16="http://schemas.microsoft.com/office/drawing/2014/main" id="{7820B7CD-78A4-42CB-9C7E-D12E68A94AB7}"/>
                    </a:ext>
                  </a:extLst>
                </p:cNvPr>
                <p:cNvSpPr/>
                <p:nvPr/>
              </p:nvSpPr>
              <p:spPr bwMode="auto">
                <a:xfrm>
                  <a:off x="7163539" y="4821439"/>
                  <a:ext cx="100013" cy="152400"/>
                </a:xfrm>
                <a:prstGeom prst="diamond">
                  <a:avLst/>
                </a:prstGeom>
                <a:solidFill>
                  <a:srgbClr val="FFFF00"/>
                </a:solidFill>
                <a:ln w="9525" cap="flat" cmpd="sng" algn="ctr">
                  <a:solidFill>
                    <a:srgbClr val="000000">
                      <a:shade val="50000"/>
                    </a:srgbClr>
                  </a:solidFill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4" name="Diamond 113">
                  <a:extLst>
                    <a:ext uri="{FF2B5EF4-FFF2-40B4-BE49-F238E27FC236}">
                      <a16:creationId xmlns:a16="http://schemas.microsoft.com/office/drawing/2014/main" id="{81C79F41-7AF9-419C-9317-69660785E4CE}"/>
                    </a:ext>
                  </a:extLst>
                </p:cNvPr>
                <p:cNvSpPr/>
                <p:nvPr/>
              </p:nvSpPr>
              <p:spPr bwMode="auto">
                <a:xfrm>
                  <a:off x="6676492" y="4813546"/>
                  <a:ext cx="100013" cy="152400"/>
                </a:xfrm>
                <a:prstGeom prst="diamond">
                  <a:avLst/>
                </a:prstGeom>
                <a:solidFill>
                  <a:srgbClr val="FFFF00"/>
                </a:solidFill>
                <a:ln w="9525" cap="flat" cmpd="sng" algn="ctr">
                  <a:solidFill>
                    <a:srgbClr val="000000">
                      <a:shade val="50000"/>
                    </a:srgbClr>
                  </a:solidFill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15" name="Diamond 114">
                  <a:extLst>
                    <a:ext uri="{FF2B5EF4-FFF2-40B4-BE49-F238E27FC236}">
                      <a16:creationId xmlns:a16="http://schemas.microsoft.com/office/drawing/2014/main" id="{FE925185-0417-4241-A44D-EF19BCA73609}"/>
                    </a:ext>
                  </a:extLst>
                </p:cNvPr>
                <p:cNvSpPr/>
                <p:nvPr/>
              </p:nvSpPr>
              <p:spPr bwMode="auto">
                <a:xfrm>
                  <a:off x="5846363" y="4523889"/>
                  <a:ext cx="100013" cy="152400"/>
                </a:xfrm>
                <a:prstGeom prst="diamond">
                  <a:avLst/>
                </a:prstGeom>
                <a:solidFill>
                  <a:srgbClr val="FFFF00"/>
                </a:solidFill>
                <a:ln w="9525" cap="flat" cmpd="sng" algn="ctr">
                  <a:solidFill>
                    <a:srgbClr val="000000">
                      <a:shade val="50000"/>
                    </a:srgbClr>
                  </a:solidFill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7" name="Diamond 76">
                <a:extLst>
                  <a:ext uri="{FF2B5EF4-FFF2-40B4-BE49-F238E27FC236}">
                    <a16:creationId xmlns:a16="http://schemas.microsoft.com/office/drawing/2014/main" id="{B9CA6828-11B0-4435-9C47-E36B81CF28F3}"/>
                  </a:ext>
                </a:extLst>
              </p:cNvPr>
              <p:cNvSpPr/>
              <p:nvPr/>
            </p:nvSpPr>
            <p:spPr bwMode="auto">
              <a:xfrm>
                <a:off x="6458207" y="4656062"/>
                <a:ext cx="100013" cy="152400"/>
              </a:xfrm>
              <a:prstGeom prst="diamond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000000">
                    <a:shade val="50000"/>
                  </a:srgbClr>
                </a:solidFill>
                <a:prstDash val="solid"/>
              </a:ln>
              <a:effectLst/>
            </p:spPr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78" name="Diamond 77">
                <a:extLst>
                  <a:ext uri="{FF2B5EF4-FFF2-40B4-BE49-F238E27FC236}">
                    <a16:creationId xmlns:a16="http://schemas.microsoft.com/office/drawing/2014/main" id="{7945FE34-D674-4DEC-B0A4-B20C15909D22}"/>
                  </a:ext>
                </a:extLst>
              </p:cNvPr>
              <p:cNvSpPr/>
              <p:nvPr/>
            </p:nvSpPr>
            <p:spPr bwMode="auto">
              <a:xfrm>
                <a:off x="6878644" y="4682805"/>
                <a:ext cx="100013" cy="152400"/>
              </a:xfrm>
              <a:prstGeom prst="diamond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000000">
                    <a:shade val="50000"/>
                  </a:srgbClr>
                </a:solidFill>
                <a:prstDash val="solid"/>
              </a:ln>
              <a:effectLst/>
            </p:spPr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1" name="Diamond 80">
                <a:extLst>
                  <a:ext uri="{FF2B5EF4-FFF2-40B4-BE49-F238E27FC236}">
                    <a16:creationId xmlns:a16="http://schemas.microsoft.com/office/drawing/2014/main" id="{F8411B23-B03E-4263-8C55-4DAC7D958D6B}"/>
                  </a:ext>
                </a:extLst>
              </p:cNvPr>
              <p:cNvSpPr/>
              <p:nvPr/>
            </p:nvSpPr>
            <p:spPr bwMode="auto">
              <a:xfrm>
                <a:off x="6934915" y="4681140"/>
                <a:ext cx="100013" cy="152400"/>
              </a:xfrm>
              <a:prstGeom prst="diamond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000000">
                    <a:shade val="50000"/>
                  </a:srgbClr>
                </a:solidFill>
                <a:prstDash val="solid"/>
              </a:ln>
              <a:effectLst/>
            </p:spPr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2" name="Diamond 81">
                <a:extLst>
                  <a:ext uri="{FF2B5EF4-FFF2-40B4-BE49-F238E27FC236}">
                    <a16:creationId xmlns:a16="http://schemas.microsoft.com/office/drawing/2014/main" id="{E84D43F6-3FFE-4ECB-A742-DD41F9BEB0D5}"/>
                  </a:ext>
                </a:extLst>
              </p:cNvPr>
              <p:cNvSpPr/>
              <p:nvPr/>
            </p:nvSpPr>
            <p:spPr bwMode="auto">
              <a:xfrm>
                <a:off x="7329047" y="4669551"/>
                <a:ext cx="100013" cy="152400"/>
              </a:xfrm>
              <a:prstGeom prst="diamond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000000">
                    <a:shade val="50000"/>
                  </a:srgbClr>
                </a:solidFill>
                <a:prstDash val="solid"/>
              </a:ln>
              <a:effectLst/>
            </p:spPr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3" name="Diamond 82">
                <a:extLst>
                  <a:ext uri="{FF2B5EF4-FFF2-40B4-BE49-F238E27FC236}">
                    <a16:creationId xmlns:a16="http://schemas.microsoft.com/office/drawing/2014/main" id="{DF6B4797-1027-478A-8FAD-080BB5268AF6}"/>
                  </a:ext>
                </a:extLst>
              </p:cNvPr>
              <p:cNvSpPr/>
              <p:nvPr/>
            </p:nvSpPr>
            <p:spPr bwMode="auto">
              <a:xfrm>
                <a:off x="8049188" y="4654062"/>
                <a:ext cx="100013" cy="152400"/>
              </a:xfrm>
              <a:prstGeom prst="diamond">
                <a:avLst/>
              </a:prstGeom>
              <a:solidFill>
                <a:srgbClr val="FFFF00"/>
              </a:solidFill>
              <a:ln w="9525" cap="flat" cmpd="sng" algn="ctr">
                <a:solidFill>
                  <a:srgbClr val="000000">
                    <a:shade val="50000"/>
                  </a:srgbClr>
                </a:solidFill>
                <a:prstDash val="solid"/>
              </a:ln>
              <a:effectLst/>
            </p:spPr>
            <p:txBody>
              <a:bodyPr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</p:grp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FED0C914-08D7-4A3C-A1DA-C6589FFB1167}"/>
              </a:ext>
            </a:extLst>
          </p:cNvPr>
          <p:cNvSpPr/>
          <p:nvPr/>
        </p:nvSpPr>
        <p:spPr>
          <a:xfrm>
            <a:off x="8194098" y="2371053"/>
            <a:ext cx="951723" cy="487913"/>
          </a:xfrm>
          <a:prstGeom prst="right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F2622A-CC44-4771-A468-6829EAA5547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r="38935"/>
          <a:stretch/>
        </p:blipFill>
        <p:spPr>
          <a:xfrm>
            <a:off x="5955088" y="2987102"/>
            <a:ext cx="45719" cy="246318"/>
          </a:xfrm>
          <a:prstGeom prst="rect">
            <a:avLst/>
          </a:prstGeom>
        </p:spPr>
      </p:pic>
      <p:grpSp>
        <p:nvGrpSpPr>
          <p:cNvPr id="66" name="Group 14">
            <a:extLst>
              <a:ext uri="{FF2B5EF4-FFF2-40B4-BE49-F238E27FC236}">
                <a16:creationId xmlns:a16="http://schemas.microsoft.com/office/drawing/2014/main" id="{0548A946-32C8-4C9A-90A2-175597F31984}"/>
              </a:ext>
            </a:extLst>
          </p:cNvPr>
          <p:cNvGrpSpPr>
            <a:grpSpLocks/>
          </p:cNvGrpSpPr>
          <p:nvPr/>
        </p:nvGrpSpPr>
        <p:grpSpPr bwMode="auto">
          <a:xfrm>
            <a:off x="5622602" y="1313463"/>
            <a:ext cx="1014412" cy="2025050"/>
            <a:chOff x="5738371" y="1268459"/>
            <a:chExt cx="1343638" cy="2346884"/>
          </a:xfrm>
        </p:grpSpPr>
        <p:grpSp>
          <p:nvGrpSpPr>
            <p:cNvPr id="67" name="Group 15">
              <a:extLst>
                <a:ext uri="{FF2B5EF4-FFF2-40B4-BE49-F238E27FC236}">
                  <a16:creationId xmlns:a16="http://schemas.microsoft.com/office/drawing/2014/main" id="{25973C50-AB4C-436C-AEE3-D9499FDD253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43624" y="1499425"/>
              <a:ext cx="855239" cy="2115918"/>
              <a:chOff x="6562365" y="818634"/>
              <a:chExt cx="782637" cy="1993573"/>
            </a:xfrm>
          </p:grpSpPr>
          <p:cxnSp>
            <p:nvCxnSpPr>
              <p:cNvPr id="69" name="Straight Connector 17">
                <a:extLst>
                  <a:ext uri="{FF2B5EF4-FFF2-40B4-BE49-F238E27FC236}">
                    <a16:creationId xmlns:a16="http://schemas.microsoft.com/office/drawing/2014/main" id="{A7E8BA40-D6F2-490B-BC53-E179D76AEC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883028" y="1019053"/>
                <a:ext cx="0" cy="1793154"/>
              </a:xfrm>
              <a:prstGeom prst="line">
                <a:avLst/>
              </a:prstGeom>
              <a:noFill/>
              <a:ln w="19050" algn="ctr">
                <a:solidFill>
                  <a:srgbClr val="F68E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70" name="Picture 18">
                <a:extLst>
                  <a:ext uri="{FF2B5EF4-FFF2-40B4-BE49-F238E27FC236}">
                    <a16:creationId xmlns:a16="http://schemas.microsoft.com/office/drawing/2014/main" id="{36FCF0BE-1013-4B7A-9F72-F5710D32C2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62365" y="818634"/>
                <a:ext cx="782637" cy="265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E9F6329-09DD-45D0-83A8-9F17718AA849}"/>
                </a:ext>
              </a:extLst>
            </p:cNvPr>
            <p:cNvSpPr/>
            <p:nvPr/>
          </p:nvSpPr>
          <p:spPr>
            <a:xfrm>
              <a:off x="5738371" y="1268459"/>
              <a:ext cx="1343638" cy="2612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1</a:t>
              </a:r>
              <a:r>
                <a:rPr lang="en-US" sz="1100" b="1" kern="0" baseline="3000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st</a:t>
              </a: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33438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90701F12-D040-46A7-ADE8-5CA904C582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0167"/>
          <a:stretch/>
        </p:blipFill>
        <p:spPr>
          <a:xfrm>
            <a:off x="4068270" y="3746500"/>
            <a:ext cx="4889992" cy="6207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20A2D7-8102-452F-8EA4-BBD1F32C16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573" b="43088"/>
          <a:stretch/>
        </p:blipFill>
        <p:spPr>
          <a:xfrm>
            <a:off x="4068270" y="2802935"/>
            <a:ext cx="4889992" cy="58004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B9EC4C6-2BBC-46B8-91D2-743F6C1AD014}"/>
              </a:ext>
            </a:extLst>
          </p:cNvPr>
          <p:cNvGrpSpPr/>
          <p:nvPr/>
        </p:nvGrpSpPr>
        <p:grpSpPr>
          <a:xfrm>
            <a:off x="554651" y="5151596"/>
            <a:ext cx="2611365" cy="871594"/>
            <a:chOff x="1092993" y="4818262"/>
            <a:chExt cx="2611365" cy="871594"/>
          </a:xfrm>
        </p:grpSpPr>
        <p:grpSp>
          <p:nvGrpSpPr>
            <p:cNvPr id="14338" name="Group 48">
              <a:extLst>
                <a:ext uri="{FF2B5EF4-FFF2-40B4-BE49-F238E27FC236}">
                  <a16:creationId xmlns:a16="http://schemas.microsoft.com/office/drawing/2014/main" id="{6ADCD26D-4430-4647-B614-8D313F08FB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92993" y="4818262"/>
              <a:ext cx="2611365" cy="549080"/>
              <a:chOff x="1014083" y="4818214"/>
              <a:chExt cx="2350588" cy="548961"/>
            </a:xfrm>
          </p:grpSpPr>
          <p:grpSp>
            <p:nvGrpSpPr>
              <p:cNvPr id="14403" name="Group 61">
                <a:extLst>
                  <a:ext uri="{FF2B5EF4-FFF2-40B4-BE49-F238E27FC236}">
                    <a16:creationId xmlns:a16="http://schemas.microsoft.com/office/drawing/2014/main" id="{942EE2E4-9F44-410F-A333-0C604338103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59094" y="5105294"/>
                <a:ext cx="2305577" cy="261881"/>
                <a:chOff x="5366065" y="1100409"/>
                <a:chExt cx="1180141" cy="300976"/>
              </a:xfrm>
            </p:grpSpPr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08EED5BF-4A53-4FEA-847C-0E55CCD1D017}"/>
                    </a:ext>
                  </a:extLst>
                </p:cNvPr>
                <p:cNvSpPr/>
                <p:nvPr/>
              </p:nvSpPr>
              <p:spPr>
                <a:xfrm>
                  <a:off x="5366065" y="1100409"/>
                  <a:ext cx="568327" cy="300976"/>
                </a:xfrm>
                <a:prstGeom prst="rect">
                  <a:avLst/>
                </a:prstGeom>
                <a:solidFill>
                  <a:srgbClr val="FFFF0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/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CFBBC362-7D30-474A-8911-35E40CE9B5C7}"/>
                    </a:ext>
                  </a:extLst>
                </p:cNvPr>
                <p:cNvSpPr/>
                <p:nvPr/>
              </p:nvSpPr>
              <p:spPr>
                <a:xfrm>
                  <a:off x="5934392" y="1100409"/>
                  <a:ext cx="611814" cy="300806"/>
                </a:xfrm>
                <a:prstGeom prst="rect">
                  <a:avLst/>
                </a:prstGeom>
                <a:solidFill>
                  <a:srgbClr val="0070C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Arial"/>
                    </a:rPr>
                    <a:t>Design/Build</a:t>
                  </a:r>
                </a:p>
              </p:txBody>
            </p:sp>
          </p:grpSp>
          <p:sp>
            <p:nvSpPr>
              <p:cNvPr id="56" name="TextBox 2">
                <a:extLst>
                  <a:ext uri="{FF2B5EF4-FFF2-40B4-BE49-F238E27FC236}">
                    <a16:creationId xmlns:a16="http://schemas.microsoft.com/office/drawing/2014/main" id="{9122D68F-9806-43FA-B249-DE714ECDB2C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14083" y="4818214"/>
                <a:ext cx="1110309" cy="3077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rgbClr val="25418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rgbClr val="3AB54A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LEGEND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7714C132-15F3-4F96-AA0D-AA79C1035EFF}"/>
                  </a:ext>
                </a:extLst>
              </p:cNvPr>
              <p:cNvSpPr/>
              <p:nvPr/>
            </p:nvSpPr>
            <p:spPr>
              <a:xfrm>
                <a:off x="1059096" y="5105293"/>
                <a:ext cx="1101735" cy="26188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/>
                  </a:rPr>
                  <a:t>Procurement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Verdana"/>
                    <a:ea typeface="+mn-ea"/>
                    <a:cs typeface="Arial"/>
                  </a:rPr>
                  <a:t>  </a:t>
                </a: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A070243-B4AC-45C4-8E42-5BD6763DF013}"/>
                </a:ext>
              </a:extLst>
            </p:cNvPr>
            <p:cNvSpPr/>
            <p:nvPr/>
          </p:nvSpPr>
          <p:spPr bwMode="auto">
            <a:xfrm>
              <a:off x="2366963" y="5444286"/>
              <a:ext cx="1337395" cy="245570"/>
            </a:xfrm>
            <a:prstGeom prst="rect">
              <a:avLst/>
            </a:prstGeom>
            <a:solidFill>
              <a:srgbClr val="632523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/>
                </a:rPr>
                <a:t>MBTA Installation</a:t>
              </a:r>
            </a:p>
          </p:txBody>
        </p:sp>
      </p:grp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ECF825A5-34AD-4AED-8B59-EF0CFC3D6F93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2514600"/>
          <a:ext cx="3581400" cy="868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1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454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ignal Upgrades Program - Orange Line</a:t>
                      </a:r>
                    </a:p>
                  </a:txBody>
                  <a:tcPr marL="91426" marR="91426" marT="45670" marB="456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454"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Calibri" panose="020F0502020204030204" pitchFamily="34" charset="0"/>
                        </a:rPr>
                        <a:t>Mainline Signal</a:t>
                      </a:r>
                      <a:r>
                        <a:rPr lang="en-US" sz="1300" b="1" baseline="0" dirty="0">
                          <a:latin typeface="Calibri" panose="020F0502020204030204" pitchFamily="34" charset="0"/>
                        </a:rPr>
                        <a:t> Upgrades Project</a:t>
                      </a:r>
                      <a:endParaRPr lang="en-US" sz="1300" b="1" dirty="0">
                        <a:latin typeface="Calibri" panose="020F0502020204030204" pitchFamily="34" charset="0"/>
                      </a:endParaRPr>
                    </a:p>
                  </a:txBody>
                  <a:tcPr marL="91426" marR="91426" marT="45670" marB="456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454"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Calibri" panose="020F0502020204030204" pitchFamily="34" charset="0"/>
                        </a:rPr>
                        <a:t>Signal Enhancements</a:t>
                      </a:r>
                    </a:p>
                  </a:txBody>
                  <a:tcPr marL="91426" marR="91426" marT="45670" marB="456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352" name="Title 4">
            <a:extLst>
              <a:ext uri="{FF2B5EF4-FFF2-40B4-BE49-F238E27FC236}">
                <a16:creationId xmlns:a16="http://schemas.microsoft.com/office/drawing/2014/main" id="{8F38C8FC-81BC-4CF6-BDF2-6999B7839B3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/>
              <a:t>Red Line/Orange Line Schedule – Signals Upgrade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94FBE6C-3D7E-4936-8DEA-0E1875B37BD7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3429000"/>
          <a:ext cx="3581400" cy="9382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1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2738">
                <a:tc>
                  <a:txBody>
                    <a:bodyPr/>
                    <a:lstStyle/>
                    <a:p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ignal Upgrades Program - Red Line</a:t>
                      </a:r>
                    </a:p>
                  </a:txBody>
                  <a:tcPr marL="91426" marR="914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38"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Calibri" panose="020F0502020204030204" pitchFamily="34" charset="0"/>
                        </a:rPr>
                        <a:t>Mainline Signal</a:t>
                      </a:r>
                      <a:r>
                        <a:rPr lang="en-US" sz="1300" b="1" baseline="0" dirty="0">
                          <a:latin typeface="Calibri" panose="020F0502020204030204" pitchFamily="34" charset="0"/>
                        </a:rPr>
                        <a:t> Upgrades Project</a:t>
                      </a:r>
                      <a:endParaRPr lang="en-US" sz="1300" b="1" dirty="0">
                        <a:latin typeface="Calibri" panose="020F0502020204030204" pitchFamily="34" charset="0"/>
                      </a:endParaRPr>
                    </a:p>
                  </a:txBody>
                  <a:tcPr marL="91426" marR="914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738">
                <a:tc>
                  <a:txBody>
                    <a:bodyPr/>
                    <a:lstStyle/>
                    <a:p>
                      <a:r>
                        <a:rPr lang="en-US" sz="1300" b="1" dirty="0">
                          <a:latin typeface="Calibri" panose="020F0502020204030204" pitchFamily="34" charset="0"/>
                        </a:rPr>
                        <a:t>Signal Enhancements</a:t>
                      </a:r>
                    </a:p>
                  </a:txBody>
                  <a:tcPr marL="91426" marR="9142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6FC9E029-3B20-4440-85EB-43AF4E3F153D}"/>
              </a:ext>
            </a:extLst>
          </p:cNvPr>
          <p:cNvSpPr/>
          <p:nvPr/>
        </p:nvSpPr>
        <p:spPr bwMode="auto">
          <a:xfrm>
            <a:off x="614181" y="5777620"/>
            <a:ext cx="1223963" cy="245570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</a:ln>
          <a:effectLst/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70A9BF-1B46-482C-B1C7-B711235F3752}"/>
              </a:ext>
            </a:extLst>
          </p:cNvPr>
          <p:cNvSpPr/>
          <p:nvPr/>
        </p:nvSpPr>
        <p:spPr bwMode="auto">
          <a:xfrm>
            <a:off x="614181" y="5761252"/>
            <a:ext cx="1223963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rPr>
              <a:t>Procurement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970F22D-0500-4E4D-9FC2-A34153DFE3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5177"/>
          <a:stretch/>
        </p:blipFill>
        <p:spPr>
          <a:xfrm>
            <a:off x="4068270" y="3419672"/>
            <a:ext cx="4907772" cy="33123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19176E0-D5BD-48F9-97FC-09EF96753E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5177"/>
          <a:stretch/>
        </p:blipFill>
        <p:spPr>
          <a:xfrm>
            <a:off x="4068270" y="2505272"/>
            <a:ext cx="4907772" cy="293914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261F17DB-F50E-4A01-AD37-6380FBD1D91B}"/>
              </a:ext>
            </a:extLst>
          </p:cNvPr>
          <p:cNvSpPr/>
          <p:nvPr/>
        </p:nvSpPr>
        <p:spPr>
          <a:xfrm>
            <a:off x="4076751" y="2514600"/>
            <a:ext cx="1917649" cy="2117690"/>
          </a:xfrm>
          <a:prstGeom prst="rect">
            <a:avLst/>
          </a:prstGeom>
          <a:solidFill>
            <a:srgbClr val="A6A6A6">
              <a:alpha val="38039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/>
              </a:rPr>
              <a:t>  Completed</a:t>
            </a:r>
          </a:p>
        </p:txBody>
      </p:sp>
    </p:spTree>
    <p:extLst>
      <p:ext uri="{BB962C8B-B14F-4D97-AF65-F5344CB8AC3E}">
        <p14:creationId xmlns:p14="http://schemas.microsoft.com/office/powerpoint/2010/main" val="1237362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8F09CC-98B5-41C2-8CC2-023989F08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Vehicle Procurement Program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7B750BAB-9DDB-4BB7-937D-EECE3C228828}"/>
              </a:ext>
            </a:extLst>
          </p:cNvPr>
          <p:cNvSpPr txBox="1">
            <a:spLocks/>
          </p:cNvSpPr>
          <p:nvPr/>
        </p:nvSpPr>
        <p:spPr bwMode="auto">
          <a:xfrm>
            <a:off x="4429013" y="4607097"/>
            <a:ext cx="427037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rgbClr val="25418A"/>
                </a:solidFill>
                <a:latin typeface="+mn-lt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ts val="2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Replace 120 Orange Line cars</a:t>
            </a:r>
          </a:p>
          <a:p>
            <a:pPr marL="342900" marR="0" lvl="0" indent="-342900" algn="l" defTabSz="914400" rtl="0" eaLnBrk="1" fontAlgn="auto" latinLnBrk="0" hangingPunct="1">
              <a:lnSpc>
                <a:spcPts val="2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32 new cars</a:t>
            </a:r>
          </a:p>
          <a:p>
            <a:pPr marL="342900" marR="0" lvl="0" indent="-342900" algn="l" defTabSz="914400" rtl="0" eaLnBrk="1" fontAlgn="auto" latinLnBrk="0" hangingPunct="1">
              <a:lnSpc>
                <a:spcPts val="2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otal = 152 vehicl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69E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7167995-66BC-48B1-A29A-8C526A363852}"/>
              </a:ext>
            </a:extLst>
          </p:cNvPr>
          <p:cNvSpPr txBox="1">
            <a:spLocks/>
          </p:cNvSpPr>
          <p:nvPr/>
        </p:nvSpPr>
        <p:spPr bwMode="auto">
          <a:xfrm>
            <a:off x="4463938" y="2959272"/>
            <a:ext cx="4040188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rgbClr val="25418A"/>
                </a:solidFill>
                <a:latin typeface="+mn-lt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rgbClr val="3AB54A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Replace 218 Red Line cars</a:t>
            </a:r>
          </a:p>
          <a:p>
            <a:pPr marL="342900" marR="0" lvl="0" indent="-342900" algn="l" defTabSz="914400" rtl="0" eaLnBrk="1" fontAlgn="base" latinLnBrk="0" hangingPunct="1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34 new cars</a:t>
            </a:r>
          </a:p>
          <a:p>
            <a:pPr marL="342900" marR="0" lvl="0" indent="-342900" algn="l" defTabSz="914400" rtl="0" eaLnBrk="1" fontAlgn="base" latinLnBrk="0" hangingPunct="1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Total = 252 vehic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AD493B0-53B3-45DF-B61D-ED94CDF6C6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493" y="2708447"/>
            <a:ext cx="2560320" cy="136550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6177329-B508-4CA3-8D7E-B9D683C336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493" y="4442897"/>
            <a:ext cx="2560320" cy="13959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A3988A-2697-41B4-9E2D-F2CD280DC676}"/>
              </a:ext>
            </a:extLst>
          </p:cNvPr>
          <p:cNvSpPr/>
          <p:nvPr/>
        </p:nvSpPr>
        <p:spPr>
          <a:xfrm>
            <a:off x="505494" y="1592117"/>
            <a:ext cx="3243546" cy="81961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>
              <a:defRPr/>
            </a:pPr>
            <a:r>
              <a:rPr lang="en-US" sz="1200" b="1" u="sng" dirty="0">
                <a:solidFill>
                  <a:srgbClr val="000000"/>
                </a:solidFill>
                <a:latin typeface="Verdana"/>
                <a:cs typeface="Arial"/>
              </a:rPr>
              <a:t>New Vehicle Procurement Program</a:t>
            </a:r>
          </a:p>
          <a:p>
            <a:pPr lvl="0">
              <a:tabLst>
                <a:tab pos="2855913" algn="dec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cs typeface="Arial"/>
              </a:rPr>
              <a:t>Total Project </a:t>
            </a:r>
            <a:r>
              <a:rPr lang="en-US" sz="1200" dirty="0">
                <a:solidFill>
                  <a:srgbClr val="000000"/>
                </a:solidFill>
              </a:rPr>
              <a:t>Value: $ 	1,009,871,671</a:t>
            </a:r>
            <a:endParaRPr lang="en-US" sz="1200" dirty="0">
              <a:solidFill>
                <a:srgbClr val="000000"/>
              </a:solidFill>
              <a:latin typeface="Verdana"/>
              <a:cs typeface="Arial"/>
            </a:endParaRPr>
          </a:p>
          <a:p>
            <a:pPr lvl="0">
              <a:tabLst>
                <a:tab pos="2855913" algn="dec"/>
              </a:tabLst>
              <a:defRPr/>
            </a:pPr>
            <a:r>
              <a:rPr lang="en-US" sz="1200" dirty="0">
                <a:solidFill>
                  <a:srgbClr val="000000"/>
                </a:solidFill>
                <a:latin typeface="Verdana"/>
                <a:cs typeface="Arial"/>
              </a:rPr>
              <a:t>Expenditure to date: </a:t>
            </a:r>
            <a:r>
              <a:rPr lang="en-US" sz="1200" dirty="0">
                <a:solidFill>
                  <a:srgbClr val="000000"/>
                </a:solidFill>
              </a:rPr>
              <a:t>$ 	 188,490,884  </a:t>
            </a:r>
            <a:r>
              <a:rPr lang="en-US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builder Percent Complete: 18.66%</a:t>
            </a:r>
            <a:endParaRPr kumimoji="0" lang="en-US" sz="12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0540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Arrow: Right 25">
            <a:extLst>
              <a:ext uri="{FF2B5EF4-FFF2-40B4-BE49-F238E27FC236}">
                <a16:creationId xmlns:a16="http://schemas.microsoft.com/office/drawing/2014/main" id="{857BFC30-4DF5-4489-A799-7F41BD99A867}"/>
              </a:ext>
            </a:extLst>
          </p:cNvPr>
          <p:cNvSpPr/>
          <p:nvPr/>
        </p:nvSpPr>
        <p:spPr>
          <a:xfrm>
            <a:off x="8154306" y="3741849"/>
            <a:ext cx="951723" cy="356678"/>
          </a:xfrm>
          <a:prstGeom prst="rightArrow">
            <a:avLst/>
          </a:prstGeom>
          <a:solidFill>
            <a:srgbClr val="8064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7FEC6D-84C9-4043-8AD0-569A82B65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Procurement Project Status – Current/Look Ahead</a:t>
            </a:r>
          </a:p>
        </p:txBody>
      </p:sp>
      <p:sp>
        <p:nvSpPr>
          <p:cNvPr id="146" name="TextBox 2">
            <a:extLst>
              <a:ext uri="{FF2B5EF4-FFF2-40B4-BE49-F238E27FC236}">
                <a16:creationId xmlns:a16="http://schemas.microsoft.com/office/drawing/2014/main" id="{A88F670A-C36A-42D9-94C0-11385B744D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7825" y="5638223"/>
            <a:ext cx="10636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rgbClr val="25418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3AB54A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chemeClr val="tx1"/>
                </a:solidFill>
              </a:rPr>
              <a:t>LEGEND</a:t>
            </a:r>
          </a:p>
        </p:txBody>
      </p:sp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82342C2D-9B29-4495-A4EB-B7B0CB5F995A}"/>
              </a:ext>
            </a:extLst>
          </p:cNvPr>
          <p:cNvGraphicFramePr>
            <a:graphicFrameLocks noGrp="1"/>
          </p:cNvGraphicFramePr>
          <p:nvPr/>
        </p:nvGraphicFramePr>
        <p:xfrm>
          <a:off x="3809771" y="1943403"/>
          <a:ext cx="5114928" cy="258762"/>
        </p:xfrm>
        <a:graphic>
          <a:graphicData uri="http://schemas.openxmlformats.org/drawingml/2006/table">
            <a:tbl>
              <a:tblPr firstRow="1" bandRow="1"/>
              <a:tblGrid>
                <a:gridCol w="730704">
                  <a:extLst>
                    <a:ext uri="{9D8B030D-6E8A-4147-A177-3AD203B41FA5}">
                      <a16:colId xmlns:a16="http://schemas.microsoft.com/office/drawing/2014/main" val="4221572498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4124304114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1227994041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745839056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422961721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3365452910"/>
                    </a:ext>
                  </a:extLst>
                </a:gridCol>
                <a:gridCol w="730704">
                  <a:extLst>
                    <a:ext uri="{9D8B030D-6E8A-4147-A177-3AD203B41FA5}">
                      <a16:colId xmlns:a16="http://schemas.microsoft.com/office/drawing/2014/main" val="618082120"/>
                    </a:ext>
                  </a:extLst>
                </a:gridCol>
              </a:tblGrid>
              <a:tr h="258762"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16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17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21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1pPr>
                      <a:lvl2pPr marL="57706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2pPr>
                      <a:lvl3pPr marL="115412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3pPr>
                      <a:lvl4pPr marL="173119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4pPr>
                      <a:lvl5pPr marL="2308258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5pPr>
                      <a:lvl6pPr marL="2885325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6pPr>
                      <a:lvl7pPr marL="3462387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7pPr>
                      <a:lvl8pPr marL="4039453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8pPr>
                      <a:lvl9pPr marL="4616516" algn="l" defTabSz="1154128" rtl="0" eaLnBrk="1" latinLnBrk="0" hangingPunct="1">
                        <a:defRPr sz="2267" b="1" kern="1200">
                          <a:solidFill>
                            <a:schemeClr val="lt1"/>
                          </a:solidFill>
                          <a:latin typeface="Verdana"/>
                          <a:cs typeface="Arial"/>
                        </a:defRPr>
                      </a:lvl9pPr>
                    </a:lstStyle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22</a:t>
                      </a:r>
                    </a:p>
                  </a:txBody>
                  <a:tcPr marL="91420" marR="91420" marT="45654" marB="4565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4831777"/>
                  </a:ext>
                </a:extLst>
              </a:tr>
            </a:tbl>
          </a:graphicData>
        </a:graphic>
      </p:graphicFrame>
      <p:grpSp>
        <p:nvGrpSpPr>
          <p:cNvPr id="52" name="Group 6">
            <a:extLst>
              <a:ext uri="{FF2B5EF4-FFF2-40B4-BE49-F238E27FC236}">
                <a16:creationId xmlns:a16="http://schemas.microsoft.com/office/drawing/2014/main" id="{12163E6E-849F-493D-9759-53D53E889186}"/>
              </a:ext>
            </a:extLst>
          </p:cNvPr>
          <p:cNvGrpSpPr>
            <a:grpSpLocks/>
          </p:cNvGrpSpPr>
          <p:nvPr/>
        </p:nvGrpSpPr>
        <p:grpSpPr bwMode="auto">
          <a:xfrm>
            <a:off x="5495696" y="3275107"/>
            <a:ext cx="885825" cy="767690"/>
            <a:chOff x="5511501" y="5114670"/>
            <a:chExt cx="1173363" cy="890089"/>
          </a:xfrm>
        </p:grpSpPr>
        <p:cxnSp>
          <p:nvCxnSpPr>
            <p:cNvPr id="57" name="Straight Connector 7">
              <a:extLst>
                <a:ext uri="{FF2B5EF4-FFF2-40B4-BE49-F238E27FC236}">
                  <a16:creationId xmlns:a16="http://schemas.microsoft.com/office/drawing/2014/main" id="{78BE3A06-511B-413A-8582-6C9AD64B11F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340695" y="5553240"/>
              <a:ext cx="24543" cy="451519"/>
            </a:xfrm>
            <a:prstGeom prst="line">
              <a:avLst/>
            </a:prstGeom>
            <a:noFill/>
            <a:ln w="38100" algn="ctr">
              <a:solidFill>
                <a:srgbClr val="FF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E2A59C5-1CA2-424F-919C-3039835B824C}"/>
                </a:ext>
              </a:extLst>
            </p:cNvPr>
            <p:cNvSpPr/>
            <p:nvPr/>
          </p:nvSpPr>
          <p:spPr>
            <a:xfrm>
              <a:off x="6045612" y="5114670"/>
              <a:ext cx="639252" cy="2613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Pilot  </a:t>
              </a:r>
            </a:p>
          </p:txBody>
        </p:sp>
        <p:pic>
          <p:nvPicPr>
            <p:cNvPr id="61" name="Picture 1" descr="image001">
              <a:extLst>
                <a:ext uri="{FF2B5EF4-FFF2-40B4-BE49-F238E27FC236}">
                  <a16:creationId xmlns:a16="http://schemas.microsoft.com/office/drawing/2014/main" id="{2E5AC510-6168-43EE-A034-15A6E59FD0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1501" y="5345425"/>
              <a:ext cx="1039944" cy="431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2" name="Group 10">
            <a:extLst>
              <a:ext uri="{FF2B5EF4-FFF2-40B4-BE49-F238E27FC236}">
                <a16:creationId xmlns:a16="http://schemas.microsoft.com/office/drawing/2014/main" id="{7F60879A-B4ED-4BC1-801B-3E2DBF8169B8}"/>
              </a:ext>
            </a:extLst>
          </p:cNvPr>
          <p:cNvGrpSpPr>
            <a:grpSpLocks/>
          </p:cNvGrpSpPr>
          <p:nvPr/>
        </p:nvGrpSpPr>
        <p:grpSpPr bwMode="auto">
          <a:xfrm>
            <a:off x="6390958" y="3157188"/>
            <a:ext cx="1054398" cy="885607"/>
            <a:chOff x="6545108" y="5355860"/>
            <a:chExt cx="1396599" cy="1026910"/>
          </a:xfrm>
        </p:grpSpPr>
        <p:cxnSp>
          <p:nvCxnSpPr>
            <p:cNvPr id="63" name="Straight Connector 11">
              <a:extLst>
                <a:ext uri="{FF2B5EF4-FFF2-40B4-BE49-F238E27FC236}">
                  <a16:creationId xmlns:a16="http://schemas.microsoft.com/office/drawing/2014/main" id="{A97D39F2-D9EF-4D0B-A05E-559DCE974AB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839271" y="5860189"/>
              <a:ext cx="0" cy="522581"/>
            </a:xfrm>
            <a:prstGeom prst="line">
              <a:avLst/>
            </a:prstGeom>
            <a:noFill/>
            <a:ln w="28575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D8BB03C-65C6-40AC-943B-96A2263945EB}"/>
                </a:ext>
              </a:extLst>
            </p:cNvPr>
            <p:cNvSpPr/>
            <p:nvPr/>
          </p:nvSpPr>
          <p:spPr>
            <a:xfrm>
              <a:off x="6598067" y="5355860"/>
              <a:ext cx="1343640" cy="2613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1</a:t>
              </a:r>
              <a:r>
                <a:rPr lang="en-US" sz="1100" b="1" kern="0" baseline="3000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st</a:t>
              </a: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 Production</a:t>
              </a:r>
            </a:p>
          </p:txBody>
        </p:sp>
        <p:pic>
          <p:nvPicPr>
            <p:cNvPr id="65" name="Picture 1" descr="image001">
              <a:extLst>
                <a:ext uri="{FF2B5EF4-FFF2-40B4-BE49-F238E27FC236}">
                  <a16:creationId xmlns:a16="http://schemas.microsoft.com/office/drawing/2014/main" id="{86630E10-A521-425C-A6EB-B5EA6C4A98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5108" y="5575523"/>
              <a:ext cx="1039944" cy="431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6" name="Group 14">
            <a:extLst>
              <a:ext uri="{FF2B5EF4-FFF2-40B4-BE49-F238E27FC236}">
                <a16:creationId xmlns:a16="http://schemas.microsoft.com/office/drawing/2014/main" id="{0548A946-32C8-4C9A-90A2-175597F31984}"/>
              </a:ext>
            </a:extLst>
          </p:cNvPr>
          <p:cNvGrpSpPr>
            <a:grpSpLocks/>
          </p:cNvGrpSpPr>
          <p:nvPr/>
        </p:nvGrpSpPr>
        <p:grpSpPr bwMode="auto">
          <a:xfrm>
            <a:off x="5479821" y="1343025"/>
            <a:ext cx="1014412" cy="1134262"/>
            <a:chOff x="5573281" y="1302719"/>
            <a:chExt cx="1343638" cy="1314526"/>
          </a:xfrm>
        </p:grpSpPr>
        <p:grpSp>
          <p:nvGrpSpPr>
            <p:cNvPr id="67" name="Group 15">
              <a:extLst>
                <a:ext uri="{FF2B5EF4-FFF2-40B4-BE49-F238E27FC236}">
                  <a16:creationId xmlns:a16="http://schemas.microsoft.com/office/drawing/2014/main" id="{25973C50-AB4C-436C-AEE3-D9499FDD253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43624" y="1499425"/>
              <a:ext cx="855239" cy="1117820"/>
              <a:chOff x="6562365" y="818634"/>
              <a:chExt cx="782637" cy="1053186"/>
            </a:xfrm>
          </p:grpSpPr>
          <p:cxnSp>
            <p:nvCxnSpPr>
              <p:cNvPr id="69" name="Straight Connector 17">
                <a:extLst>
                  <a:ext uri="{FF2B5EF4-FFF2-40B4-BE49-F238E27FC236}">
                    <a16:creationId xmlns:a16="http://schemas.microsoft.com/office/drawing/2014/main" id="{A7E8BA40-D6F2-490B-BC53-E179D76AEC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883028" y="1019053"/>
                <a:ext cx="0" cy="852767"/>
              </a:xfrm>
              <a:prstGeom prst="line">
                <a:avLst/>
              </a:prstGeom>
              <a:noFill/>
              <a:ln w="28575" algn="ctr">
                <a:solidFill>
                  <a:srgbClr val="F68E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70" name="Picture 18">
                <a:extLst>
                  <a:ext uri="{FF2B5EF4-FFF2-40B4-BE49-F238E27FC236}">
                    <a16:creationId xmlns:a16="http://schemas.microsoft.com/office/drawing/2014/main" id="{36FCF0BE-1013-4B7A-9F72-F5710D32C2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62365" y="818634"/>
                <a:ext cx="782637" cy="265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E9F6329-09DD-45D0-83A8-9F17718AA849}"/>
                </a:ext>
              </a:extLst>
            </p:cNvPr>
            <p:cNvSpPr/>
            <p:nvPr/>
          </p:nvSpPr>
          <p:spPr>
            <a:xfrm>
              <a:off x="5573281" y="1302719"/>
              <a:ext cx="1343638" cy="2612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1</a:t>
              </a:r>
              <a:r>
                <a:rPr lang="en-US" sz="1100" b="1" kern="0" baseline="3000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st</a:t>
              </a: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 Production</a:t>
              </a:r>
            </a:p>
          </p:txBody>
        </p:sp>
      </p:grpSp>
      <p:grpSp>
        <p:nvGrpSpPr>
          <p:cNvPr id="71" name="Group 19">
            <a:extLst>
              <a:ext uri="{FF2B5EF4-FFF2-40B4-BE49-F238E27FC236}">
                <a16:creationId xmlns:a16="http://schemas.microsoft.com/office/drawing/2014/main" id="{773FC350-9132-451D-828B-ABE31DCB82D4}"/>
              </a:ext>
            </a:extLst>
          </p:cNvPr>
          <p:cNvGrpSpPr>
            <a:grpSpLocks/>
          </p:cNvGrpSpPr>
          <p:nvPr/>
        </p:nvGrpSpPr>
        <p:grpSpPr bwMode="auto">
          <a:xfrm>
            <a:off x="4909908" y="1476375"/>
            <a:ext cx="590550" cy="1000911"/>
            <a:chOff x="5077995" y="1488661"/>
            <a:chExt cx="782637" cy="1160568"/>
          </a:xfrm>
        </p:grpSpPr>
        <p:grpSp>
          <p:nvGrpSpPr>
            <p:cNvPr id="72" name="Group 20">
              <a:extLst>
                <a:ext uri="{FF2B5EF4-FFF2-40B4-BE49-F238E27FC236}">
                  <a16:creationId xmlns:a16="http://schemas.microsoft.com/office/drawing/2014/main" id="{7906E167-814E-47AD-915F-50F37AB8599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77995" y="1664610"/>
              <a:ext cx="782637" cy="984619"/>
              <a:chOff x="5824143" y="987125"/>
              <a:chExt cx="782637" cy="984619"/>
            </a:xfrm>
          </p:grpSpPr>
          <p:cxnSp>
            <p:nvCxnSpPr>
              <p:cNvPr id="74" name="Straight Connector 22">
                <a:extLst>
                  <a:ext uri="{FF2B5EF4-FFF2-40B4-BE49-F238E27FC236}">
                    <a16:creationId xmlns:a16="http://schemas.microsoft.com/office/drawing/2014/main" id="{D6752004-CFEA-47D1-9B39-DEF38AF63505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6226398" y="1185180"/>
                <a:ext cx="0" cy="786564"/>
              </a:xfrm>
              <a:prstGeom prst="line">
                <a:avLst/>
              </a:prstGeom>
              <a:noFill/>
              <a:ln w="28575" algn="ctr">
                <a:solidFill>
                  <a:srgbClr val="F68E0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pic>
            <p:nvPicPr>
              <p:cNvPr id="75" name="Picture 23">
                <a:extLst>
                  <a:ext uri="{FF2B5EF4-FFF2-40B4-BE49-F238E27FC236}">
                    <a16:creationId xmlns:a16="http://schemas.microsoft.com/office/drawing/2014/main" id="{02BB1C62-BA47-4B28-8315-BA618A3685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4143" y="987125"/>
                <a:ext cx="782637" cy="263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D7062FE8-0619-40BE-BF5D-A3CF289AC1C6}"/>
                </a:ext>
              </a:extLst>
            </p:cNvPr>
            <p:cNvSpPr/>
            <p:nvPr/>
          </p:nvSpPr>
          <p:spPr>
            <a:xfrm>
              <a:off x="5128488" y="1488661"/>
              <a:ext cx="639574" cy="26138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kern="0" dirty="0">
                  <a:solidFill>
                    <a:srgbClr val="FFFFFF">
                      <a:lumMod val="50000"/>
                    </a:srgbClr>
                  </a:solidFill>
                  <a:latin typeface="Verdana"/>
                  <a:cs typeface="Arial"/>
                </a:rPr>
                <a:t>Pilot  </a:t>
              </a:r>
            </a:p>
          </p:txBody>
        </p:sp>
      </p:grp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EA3CBD2C-406F-4A94-8CDD-A051F76DF2F4}"/>
              </a:ext>
            </a:extLst>
          </p:cNvPr>
          <p:cNvGraphicFramePr>
            <a:graphicFrameLocks noGrp="1"/>
          </p:cNvGraphicFramePr>
          <p:nvPr/>
        </p:nvGraphicFramePr>
        <p:xfrm>
          <a:off x="221633" y="1977080"/>
          <a:ext cx="3542482" cy="276942"/>
        </p:xfrm>
        <a:graphic>
          <a:graphicData uri="http://schemas.openxmlformats.org/drawingml/2006/table">
            <a:tbl>
              <a:tblPr/>
              <a:tblGrid>
                <a:gridCol w="3542482">
                  <a:extLst>
                    <a:ext uri="{9D8B030D-6E8A-4147-A177-3AD203B41FA5}">
                      <a16:colId xmlns:a16="http://schemas.microsoft.com/office/drawing/2014/main" val="460624374"/>
                    </a:ext>
                  </a:extLst>
                </a:gridCol>
              </a:tblGrid>
              <a:tr h="2769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hicle Procurement Progr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067974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F45F9F8-A798-400B-8ECB-F138BB8A1A8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1633" y="2255469"/>
          <a:ext cx="3538602" cy="244061"/>
        </p:xfrm>
        <a:graphic>
          <a:graphicData uri="http://schemas.openxmlformats.org/drawingml/2006/table">
            <a:tbl>
              <a:tblPr/>
              <a:tblGrid>
                <a:gridCol w="3538602">
                  <a:extLst>
                    <a:ext uri="{9D8B030D-6E8A-4147-A177-3AD203B41FA5}">
                      <a16:colId xmlns:a16="http://schemas.microsoft.com/office/drawing/2014/main" val="1758214005"/>
                    </a:ext>
                  </a:extLst>
                </a:gridCol>
              </a:tblGrid>
              <a:tr h="2440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OL  Vehicles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109533"/>
                  </a:ext>
                </a:extLst>
              </a:tr>
            </a:tbl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3D05786A-30D1-4F99-B2AA-E3529E11E8D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373"/>
          <a:stretch/>
        </p:blipFill>
        <p:spPr>
          <a:xfrm>
            <a:off x="3809770" y="2263371"/>
            <a:ext cx="5114925" cy="246694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0C339CFA-1D12-4B1E-B01F-0622A733F3F3}"/>
              </a:ext>
            </a:extLst>
          </p:cNvPr>
          <p:cNvSpPr/>
          <p:nvPr/>
        </p:nvSpPr>
        <p:spPr bwMode="auto">
          <a:xfrm>
            <a:off x="1336592" y="5914956"/>
            <a:ext cx="2243194" cy="248347"/>
          </a:xfrm>
          <a:prstGeom prst="rect">
            <a:avLst/>
          </a:prstGeom>
          <a:solidFill>
            <a:srgbClr val="8064A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kern="0" dirty="0">
                <a:solidFill>
                  <a:schemeClr val="tx1"/>
                </a:solidFill>
              </a:rPr>
              <a:t>Manufacturing/Delivery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221D4D83-0B58-4314-B841-B2A2A10730D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1397" y="3798734"/>
          <a:ext cx="3538602" cy="244061"/>
        </p:xfrm>
        <a:graphic>
          <a:graphicData uri="http://schemas.openxmlformats.org/drawingml/2006/table">
            <a:tbl>
              <a:tblPr/>
              <a:tblGrid>
                <a:gridCol w="3538602">
                  <a:extLst>
                    <a:ext uri="{9D8B030D-6E8A-4147-A177-3AD203B41FA5}">
                      <a16:colId xmlns:a16="http://schemas.microsoft.com/office/drawing/2014/main" val="1758214005"/>
                    </a:ext>
                  </a:extLst>
                </a:gridCol>
              </a:tblGrid>
              <a:tr h="24406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 RL  Vehicles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897570"/>
                  </a:ext>
                </a:extLst>
              </a:tr>
            </a:tbl>
          </a:graphicData>
        </a:graphic>
      </p:graphicFrame>
      <p:pic>
        <p:nvPicPr>
          <p:cNvPr id="53" name="Picture 52">
            <a:extLst>
              <a:ext uri="{FF2B5EF4-FFF2-40B4-BE49-F238E27FC236}">
                <a16:creationId xmlns:a16="http://schemas.microsoft.com/office/drawing/2014/main" id="{53E8D988-C522-418A-87D5-CABD7F50B55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7885"/>
          <a:stretch/>
        </p:blipFill>
        <p:spPr>
          <a:xfrm>
            <a:off x="3809769" y="3795661"/>
            <a:ext cx="5114925" cy="249026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5AEDF61C-9D26-4DF9-8B58-72255FC2FF6C}"/>
              </a:ext>
            </a:extLst>
          </p:cNvPr>
          <p:cNvSpPr/>
          <p:nvPr/>
        </p:nvSpPr>
        <p:spPr bwMode="auto">
          <a:xfrm>
            <a:off x="462685" y="5915488"/>
            <a:ext cx="873907" cy="245920"/>
          </a:xfrm>
          <a:prstGeom prst="rect">
            <a:avLst/>
          </a:prstGeom>
          <a:solidFill>
            <a:srgbClr val="00CC0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kern="0" dirty="0">
                <a:solidFill>
                  <a:schemeClr val="tx1"/>
                </a:solidFill>
              </a:rPr>
              <a:t>Desig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522A8A4-564F-4EE8-9920-0FA7B80D55D7}"/>
              </a:ext>
            </a:extLst>
          </p:cNvPr>
          <p:cNvSpPr txBox="1"/>
          <p:nvPr/>
        </p:nvSpPr>
        <p:spPr>
          <a:xfrm>
            <a:off x="19567" y="2585976"/>
            <a:ext cx="86106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DC7307"/>
                </a:solidFill>
                <a:latin typeface="Calibri" panose="020F0502020204030204" pitchFamily="34" charset="0"/>
              </a:rPr>
              <a:t>●</a:t>
            </a:r>
            <a:r>
              <a:rPr lang="en-US" sz="1400" dirty="0">
                <a:latin typeface="Calibri" panose="020F0502020204030204" pitchFamily="34" charset="0"/>
              </a:rPr>
              <a:t> OL Pilot Car Qualification &amp; Acceptance Testing - (through December 2018)</a:t>
            </a:r>
          </a:p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FE7F00"/>
                </a:solidFill>
                <a:latin typeface="Calibri" panose="020F0502020204030204" pitchFamily="34" charset="0"/>
              </a:rPr>
              <a:t>●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OL</a:t>
            </a:r>
            <a:r>
              <a:rPr lang="en-US" sz="1400" dirty="0">
                <a:latin typeface="Calibri" panose="020F0502020204030204" pitchFamily="34" charset="0"/>
              </a:rPr>
              <a:t> Production Delivery from Springfield Facility Starts - (December 2018)</a:t>
            </a:r>
          </a:p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FE7F00"/>
                </a:solidFill>
                <a:latin typeface="Calibri" panose="020F0502020204030204" pitchFamily="34" charset="0"/>
              </a:rPr>
              <a:t>●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OL</a:t>
            </a:r>
            <a:r>
              <a:rPr lang="en-US" sz="1400" dirty="0">
                <a:latin typeface="Calibri" panose="020F0502020204030204" pitchFamily="34" charset="0"/>
              </a:rPr>
              <a:t> Production Acceptance Testing Begins - (January 2019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20005A0-EF60-484D-A998-040484122E30}"/>
              </a:ext>
            </a:extLst>
          </p:cNvPr>
          <p:cNvSpPr txBox="1"/>
          <p:nvPr/>
        </p:nvSpPr>
        <p:spPr>
          <a:xfrm>
            <a:off x="33158" y="4141608"/>
            <a:ext cx="86106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FF0000"/>
                </a:solidFill>
                <a:latin typeface="Calibri" panose="020F0502020204030204" pitchFamily="34" charset="0"/>
              </a:rPr>
              <a:t>● </a:t>
            </a:r>
            <a:r>
              <a:rPr lang="en-US" sz="1400" dirty="0">
                <a:latin typeface="Calibri" panose="020F0502020204030204" pitchFamily="34" charset="0"/>
              </a:rPr>
              <a:t>RL Carbody FAI - (November 2018)</a:t>
            </a:r>
          </a:p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FF0000"/>
                </a:solidFill>
                <a:latin typeface="Calibri" panose="020F0502020204030204" pitchFamily="34" charset="0"/>
              </a:rPr>
              <a:t>● </a:t>
            </a:r>
            <a:r>
              <a:rPr lang="en-US" sz="1400" dirty="0" err="1">
                <a:latin typeface="Calibri" panose="020F0502020204030204" pitchFamily="34" charset="0"/>
              </a:rPr>
              <a:t>RL</a:t>
            </a:r>
            <a:r>
              <a:rPr lang="en-US" sz="1400" dirty="0">
                <a:latin typeface="Calibri" panose="020F0502020204030204" pitchFamily="34" charset="0"/>
              </a:rPr>
              <a:t> Complete Vehicle FAI (Changchun) – (February 2019)</a:t>
            </a:r>
          </a:p>
          <a:p>
            <a:pPr marL="179388" lvl="1">
              <a:spcAft>
                <a:spcPts val="600"/>
              </a:spcAft>
              <a:tabLst>
                <a:tab pos="5486400" algn="l"/>
              </a:tabLst>
            </a:pPr>
            <a:r>
              <a:rPr lang="en-US" sz="1400" dirty="0">
                <a:solidFill>
                  <a:srgbClr val="FF0000"/>
                </a:solidFill>
                <a:latin typeface="Calibri" panose="020F0502020204030204" pitchFamily="34" charset="0"/>
              </a:rPr>
              <a:t>● </a:t>
            </a:r>
            <a:r>
              <a:rPr lang="en-US" sz="1400" dirty="0">
                <a:latin typeface="Calibri" panose="020F0502020204030204" pitchFamily="34" charset="0"/>
              </a:rPr>
              <a:t>RL Delivery of Pilot Cars - (March 2019)</a:t>
            </a:r>
          </a:p>
        </p:txBody>
      </p:sp>
    </p:spTree>
    <p:extLst>
      <p:ext uri="{BB962C8B-B14F-4D97-AF65-F5344CB8AC3E}">
        <p14:creationId xmlns:p14="http://schemas.microsoft.com/office/powerpoint/2010/main" val="2168583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ange Line Vehicle Procurement Project Status</a:t>
            </a:r>
          </a:p>
        </p:txBody>
      </p:sp>
      <p:sp>
        <p:nvSpPr>
          <p:cNvPr id="6" name="Rectangle 5"/>
          <p:cNvSpPr/>
          <p:nvPr/>
        </p:nvSpPr>
        <p:spPr>
          <a:xfrm>
            <a:off x="533025" y="1587640"/>
            <a:ext cx="3953034" cy="162783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just"/>
            <a:r>
              <a:rPr lang="en-US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full vehicle level First Article Inspection (FAI) of Married Pair 3 was performed at Wellington </a:t>
            </a:r>
            <a:r>
              <a:rPr lang="en-US" sz="14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house</a:t>
            </a:r>
            <a:r>
              <a:rPr lang="en-US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eptember 26-27, 2018. 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3014" y="2066680"/>
            <a:ext cx="3888713" cy="29165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024" y="3524948"/>
            <a:ext cx="3953035" cy="249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13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ne Vehicle Procurement Project Status</a:t>
            </a:r>
          </a:p>
        </p:txBody>
      </p:sp>
      <p:sp>
        <p:nvSpPr>
          <p:cNvPr id="6" name="Rectangle 5"/>
          <p:cNvSpPr/>
          <p:nvPr/>
        </p:nvSpPr>
        <p:spPr>
          <a:xfrm>
            <a:off x="572755" y="1556376"/>
            <a:ext cx="4521759" cy="134574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just">
              <a:defRPr/>
            </a:pPr>
            <a:r>
              <a:rPr lang="en-US" sz="1300" dirty="0">
                <a:solidFill>
                  <a:schemeClr val="tx1"/>
                </a:solidFill>
                <a:latin typeface="Verdana"/>
                <a:cs typeface="Arial"/>
              </a:rPr>
              <a:t>The Red Line pilot carshells are under construction in Changchun, China. </a:t>
            </a:r>
            <a:r>
              <a:rPr lang="en-US" sz="1300" dirty="0">
                <a:solidFill>
                  <a:schemeClr val="tx1"/>
                </a:solidFill>
                <a:ea typeface="Verdana" panose="020B0604030504040204" pitchFamily="34" charset="0"/>
              </a:rPr>
              <a:t>The first Red Line carbody will be completed in November 2019. </a:t>
            </a:r>
            <a:endParaRPr lang="en-US" sz="13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>
              <a:defRPr/>
            </a:pPr>
            <a:endParaRPr lang="en-US" sz="1300" dirty="0">
              <a:solidFill>
                <a:schemeClr val="tx1"/>
              </a:solidFill>
              <a:latin typeface="Verdana"/>
              <a:cs typeface="Arial"/>
            </a:endParaRPr>
          </a:p>
          <a:p>
            <a:pPr algn="just">
              <a:defRPr/>
            </a:pPr>
            <a:r>
              <a:rPr lang="en-US" sz="1300" dirty="0">
                <a:solidFill>
                  <a:schemeClr val="tx1"/>
                </a:solidFill>
                <a:latin typeface="Verdana"/>
                <a:cs typeface="Arial"/>
              </a:rPr>
              <a:t>Red Line Pilot Cars are schedule for delivery in the Spring of 2019.</a:t>
            </a:r>
          </a:p>
          <a:p>
            <a:pPr algn="just">
              <a:defRPr/>
            </a:pPr>
            <a:endParaRPr lang="en-US" sz="1300" dirty="0">
              <a:solidFill>
                <a:schemeClr val="tx1"/>
              </a:solidFill>
              <a:latin typeface="Verdana"/>
              <a:ea typeface="Verdana" panose="020B0604030504040204" pitchFamily="34" charset="0"/>
              <a:cs typeface="Arial"/>
            </a:endParaRPr>
          </a:p>
          <a:p>
            <a:pPr algn="just">
              <a:defRPr/>
            </a:pPr>
            <a:endParaRPr lang="en-US" sz="13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6351" y="1672752"/>
            <a:ext cx="3060873" cy="408632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495"/>
          <a:stretch/>
        </p:blipFill>
        <p:spPr>
          <a:xfrm>
            <a:off x="1577592" y="3163095"/>
            <a:ext cx="2512088" cy="259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918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" id="{A9A91626-64AF-4BB6-A98C-A92CD1976DE6}" vid="{E06E7F53-71CC-4783-9AF9-416875201A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EA24755921242B6930DE14963EEA1" ma:contentTypeVersion="2" ma:contentTypeDescription="Create a new document." ma:contentTypeScope="" ma:versionID="05c769840a6264e83d3d2bcd161cf46a">
  <xsd:schema xmlns:xsd="http://www.w3.org/2001/XMLSchema" xmlns:xs="http://www.w3.org/2001/XMLSchema" xmlns:p="http://schemas.microsoft.com/office/2006/metadata/properties" xmlns:ns2="a48fa604-65a2-4043-adf9-a239411230e9" targetNamespace="http://schemas.microsoft.com/office/2006/metadata/properties" ma:root="true" ma:fieldsID="8052e779e10ae18b65a98d9eba4387c7" ns2:_="">
    <xsd:import namespace="a48fa604-65a2-4043-adf9-a23941123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8fa604-65a2-4043-adf9-a239411230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79C05C7-058A-484B-9149-27F15EEEA9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8fa604-65a2-4043-adf9-a239411230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925FDC-4F6A-4C36-B90B-7FE388DF48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215429-FB37-45DA-8E07-94A457724AF8}">
  <ds:schemaRefs>
    <ds:schemaRef ds:uri="a48fa604-65a2-4043-adf9-a239411230e9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</Template>
  <TotalTime>13513</TotalTime>
  <Words>967</Words>
  <Application>Microsoft Macintosh PowerPoint</Application>
  <PresentationFormat>On-screen Show (4:3)</PresentationFormat>
  <Paragraphs>240</Paragraphs>
  <Slides>19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Verdana</vt:lpstr>
      <vt:lpstr>MBTA</vt:lpstr>
      <vt:lpstr>Red Line/Orange Line Improvement Program Update</vt:lpstr>
      <vt:lpstr>OVERVIEW</vt:lpstr>
      <vt:lpstr>PowerPoint Presentation</vt:lpstr>
      <vt:lpstr>Red Line and Orange Line Schedule by Project</vt:lpstr>
      <vt:lpstr>Red Line/Orange Line Schedule – Signals Upgrades</vt:lpstr>
      <vt:lpstr>New Vehicle Procurement Program</vt:lpstr>
      <vt:lpstr>Vehicle Procurement Project Status – Current/Look Ahead</vt:lpstr>
      <vt:lpstr>Orange Line Vehicle Procurement Project Status</vt:lpstr>
      <vt:lpstr>Red Line Vehicle Procurement Project Status</vt:lpstr>
      <vt:lpstr>Production Vehicle Final Assembly – Springfield MA</vt:lpstr>
      <vt:lpstr>Orange Line Projects: Wellington Yard Expansion Tracks 33 to 38</vt:lpstr>
      <vt:lpstr>Orange Line Projects: Orange Line Test Track</vt:lpstr>
      <vt:lpstr>Orange Line Projects: Wellington Maintenance Facility</vt:lpstr>
      <vt:lpstr>Orange Line Projects: Wellington Yard Rebuild</vt:lpstr>
      <vt:lpstr>Red Line Projects: Red Line Test Track</vt:lpstr>
      <vt:lpstr>Red Line Projects: Cabot Yard &amp; Maintenance Facility Improvements</vt:lpstr>
      <vt:lpstr>Signals Upgrade Projects Status </vt:lpstr>
      <vt:lpstr>State of Good Repair Projects Status – Bridge Strengthening</vt:lpstr>
      <vt:lpstr>Vehicle Procurement &amp; Improvement Program Collabor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s, Joshua</dc:creator>
  <cp:lastModifiedBy>Siddiqui, Aayesha</cp:lastModifiedBy>
  <cp:revision>625</cp:revision>
  <cp:lastPrinted>2018-09-27T18:56:16Z</cp:lastPrinted>
  <dcterms:created xsi:type="dcterms:W3CDTF">2017-06-19T20:46:15Z</dcterms:created>
  <dcterms:modified xsi:type="dcterms:W3CDTF">2018-10-01T20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EA24755921242B6930DE14963EEA1</vt:lpwstr>
  </property>
</Properties>
</file>